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22" r:id="rId6"/>
  </p:sldMasterIdLst>
  <p:notesMasterIdLst>
    <p:notesMasterId r:id="rId10"/>
  </p:notesMasterIdLst>
  <p:handoutMasterIdLst>
    <p:handoutMasterId r:id="rId11"/>
  </p:handoutMasterIdLst>
  <p:sldIdLst>
    <p:sldId id="317" r:id="rId7"/>
    <p:sldId id="318" r:id="rId8"/>
    <p:sldId id="319" r:id="rId9"/>
  </p:sldIdLst>
  <p:sldSz cx="12198350" cy="6858000"/>
  <p:notesSz cx="6950075" cy="92360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3" orient="horz" pos="240" userDrawn="1">
          <p15:clr>
            <a:srgbClr val="A4A3A4"/>
          </p15:clr>
        </p15:guide>
        <p15:guide id="4" orient="horz" pos="4080" userDrawn="1">
          <p15:clr>
            <a:srgbClr val="A4A3A4"/>
          </p15:clr>
        </p15:guide>
        <p15:guide id="5" pos="242" userDrawn="1">
          <p15:clr>
            <a:srgbClr val="A4A3A4"/>
          </p15:clr>
        </p15:guide>
        <p15:guide id="6" pos="7442" userDrawn="1">
          <p15:clr>
            <a:srgbClr val="A4A3A4"/>
          </p15:clr>
        </p15:guide>
        <p15:guide id="12" pos="2522" userDrawn="1">
          <p15:clr>
            <a:srgbClr val="A4A3A4"/>
          </p15:clr>
        </p15:guide>
        <p15:guide id="13" pos="2218" userDrawn="1">
          <p15:clr>
            <a:srgbClr val="A4A3A4"/>
          </p15:clr>
        </p15:guide>
        <p15:guide id="18" pos="3866" userDrawn="1">
          <p15:clr>
            <a:srgbClr val="A4A3A4"/>
          </p15:clr>
        </p15:guide>
        <p15:guide id="19" pos="5522" userDrawn="1">
          <p15:clr>
            <a:srgbClr val="A4A3A4"/>
          </p15:clr>
        </p15:guide>
        <p15:guide id="22" pos="5378" userDrawn="1">
          <p15:clr>
            <a:srgbClr val="A4A3A4"/>
          </p15:clr>
        </p15:guide>
        <p15:guide id="29" pos="386" userDrawn="1">
          <p15:clr>
            <a:srgbClr val="A4A3A4"/>
          </p15:clr>
        </p15:guide>
        <p15:guide id="30" pos="3794" userDrawn="1">
          <p15:clr>
            <a:srgbClr val="A4A3A4"/>
          </p15:clr>
        </p15:guide>
        <p15:guide id="31" pos="3938" userDrawn="1">
          <p15:clr>
            <a:srgbClr val="A4A3A4"/>
          </p15:clr>
        </p15:guide>
        <p15:guide id="32" pos="6002" userDrawn="1">
          <p15:clr>
            <a:srgbClr val="A4A3A4"/>
          </p15:clr>
        </p15:guide>
        <p15:guide id="33" pos="5858"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0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FFE600"/>
    <a:srgbClr val="747480"/>
    <a:srgbClr val="2E2E38"/>
    <a:srgbClr val="000000"/>
    <a:srgbClr val="808080"/>
    <a:srgbClr val="C4C4CD"/>
    <a:srgbClr val="FFFFFF"/>
    <a:srgbClr val="FF9A91"/>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1B753B-A781-44F7-9ACD-C3FAF52B5236}" v="11" dt="2024-03-30T18:35:28.2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20" autoAdjust="0"/>
    <p:restoredTop sz="95503" autoAdjust="0"/>
  </p:normalViewPr>
  <p:slideViewPr>
    <p:cSldViewPr snapToGrid="0" snapToObjects="1" showGuides="1">
      <p:cViewPr varScale="1">
        <p:scale>
          <a:sx n="67" d="100"/>
          <a:sy n="67" d="100"/>
        </p:scale>
        <p:origin x="872" y="44"/>
      </p:cViewPr>
      <p:guideLst>
        <p:guide orient="horz" pos="2184"/>
        <p:guide orient="horz" pos="240"/>
        <p:guide orient="horz" pos="4080"/>
        <p:guide pos="242"/>
        <p:guide pos="7442"/>
        <p:guide pos="2522"/>
        <p:guide pos="2218"/>
        <p:guide pos="3866"/>
        <p:guide pos="5522"/>
        <p:guide pos="5378"/>
        <p:guide pos="386"/>
        <p:guide pos="3794"/>
        <p:guide pos="3938"/>
        <p:guide pos="6002"/>
        <p:guide pos="5858"/>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03/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03/2024</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0</a:t>
            </a:fld>
            <a:endParaRPr lang="en-GB" dirty="0"/>
          </a:p>
        </p:txBody>
      </p:sp>
    </p:spTree>
    <p:extLst>
      <p:ext uri="{BB962C8B-B14F-4D97-AF65-F5344CB8AC3E}">
        <p14:creationId xmlns:p14="http://schemas.microsoft.com/office/powerpoint/2010/main" val="1129935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6165088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9CFD32DC-BCE2-4CF2-918A-DC55975CF76D}"/>
              </a:ext>
            </a:extLst>
          </p:cNvPr>
          <p:cNvGrpSpPr/>
          <p:nvPr userDrawn="1"/>
        </p:nvGrpSpPr>
        <p:grpSpPr>
          <a:xfrm>
            <a:off x="-1" y="0"/>
            <a:ext cx="12201526" cy="6858001"/>
            <a:chOff x="-1" y="0"/>
            <a:chExt cx="12201526" cy="6858001"/>
          </a:xfrm>
        </p:grpSpPr>
        <p:pic>
          <p:nvPicPr>
            <p:cNvPr id="12" name="Picture 11" descr="A person looking out a window&#10;&#10;Description automatically generated with medium confidence">
              <a:extLst>
                <a:ext uri="{FF2B5EF4-FFF2-40B4-BE49-F238E27FC236}">
                  <a16:creationId xmlns:a16="http://schemas.microsoft.com/office/drawing/2014/main" id="{C0B42076-2A63-4111-973B-EE433E9314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 y="0"/>
              <a:ext cx="12198096" cy="6858000"/>
            </a:xfrm>
            <a:prstGeom prst="rect">
              <a:avLst/>
            </a:prstGeom>
          </p:spPr>
        </p:pic>
        <p:sp>
          <p:nvSpPr>
            <p:cNvPr id="13" name="Rectangle 12">
              <a:extLst>
                <a:ext uri="{FF2B5EF4-FFF2-40B4-BE49-F238E27FC236}">
                  <a16:creationId xmlns:a16="http://schemas.microsoft.com/office/drawing/2014/main" id="{32B32AFA-FA8B-4C28-932D-DB203F4C2DE9}"/>
                </a:ext>
              </a:extLst>
            </p:cNvPr>
            <p:cNvSpPr/>
            <p:nvPr userDrawn="1"/>
          </p:nvSpPr>
          <p:spPr>
            <a:xfrm flipH="1">
              <a:off x="-1"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a:extLst>
                <a:ext uri="{FF2B5EF4-FFF2-40B4-BE49-F238E27FC236}">
                  <a16:creationId xmlns:a16="http://schemas.microsoft.com/office/drawing/2014/main" id="{E8B4DEF8-FD4E-4563-9221-9C4758787C9A}"/>
                </a:ext>
              </a:extLst>
            </p:cNvPr>
            <p:cNvSpPr/>
            <p:nvPr userDrawn="1"/>
          </p:nvSpPr>
          <p:spPr>
            <a:xfrm flipH="1">
              <a:off x="3174"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Rectangle 14">
              <a:extLst>
                <a:ext uri="{FF2B5EF4-FFF2-40B4-BE49-F238E27FC236}">
                  <a16:creationId xmlns:a16="http://schemas.microsoft.com/office/drawing/2014/main" id="{6E813767-6E5D-40C5-B85D-0C3B51B58B10}"/>
                </a:ext>
              </a:extLst>
            </p:cNvPr>
            <p:cNvSpPr>
              <a:spLocks/>
            </p:cNvSpPr>
            <p:nvPr userDrawn="1"/>
          </p:nvSpPr>
          <p:spPr>
            <a:xfrm flipH="1">
              <a:off x="127" y="0"/>
              <a:ext cx="12198349" cy="6858000"/>
            </a:xfrm>
            <a:prstGeom prst="rect">
              <a:avLst/>
            </a:prstGeom>
            <a:solidFill>
              <a:schemeClr val="bg2">
                <a:alpha val="5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Approved question wide">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4392A31-CD4B-448C-8C06-F81B8ADA08FA}"/>
              </a:ext>
            </a:extLst>
          </p:cNvPr>
          <p:cNvGrpSpPr/>
          <p:nvPr userDrawn="1"/>
        </p:nvGrpSpPr>
        <p:grpSpPr>
          <a:xfrm>
            <a:off x="-1" y="0"/>
            <a:ext cx="12201526" cy="6858001"/>
            <a:chOff x="-1" y="0"/>
            <a:chExt cx="12201526" cy="6858001"/>
          </a:xfrm>
        </p:grpSpPr>
        <p:pic>
          <p:nvPicPr>
            <p:cNvPr id="19" name="Picture 18" descr="A person looking out a window&#10;&#10;Description automatically generated with medium confidence">
              <a:extLst>
                <a:ext uri="{FF2B5EF4-FFF2-40B4-BE49-F238E27FC236}">
                  <a16:creationId xmlns:a16="http://schemas.microsoft.com/office/drawing/2014/main" id="{AE70F1E6-0C3C-4D8B-80DD-035272F210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 y="0"/>
              <a:ext cx="12198096" cy="6858000"/>
            </a:xfrm>
            <a:prstGeom prst="rect">
              <a:avLst/>
            </a:prstGeom>
          </p:spPr>
        </p:pic>
        <p:sp>
          <p:nvSpPr>
            <p:cNvPr id="20" name="Rectangle 19">
              <a:extLst>
                <a:ext uri="{FF2B5EF4-FFF2-40B4-BE49-F238E27FC236}">
                  <a16:creationId xmlns:a16="http://schemas.microsoft.com/office/drawing/2014/main" id="{5A598E96-DFBE-41DF-9CC0-B433E1CDC4E5}"/>
                </a:ext>
              </a:extLst>
            </p:cNvPr>
            <p:cNvSpPr/>
            <p:nvPr userDrawn="1"/>
          </p:nvSpPr>
          <p:spPr>
            <a:xfrm flipH="1">
              <a:off x="-1"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1" name="Rectangle 20">
              <a:extLst>
                <a:ext uri="{FF2B5EF4-FFF2-40B4-BE49-F238E27FC236}">
                  <a16:creationId xmlns:a16="http://schemas.microsoft.com/office/drawing/2014/main" id="{E7EF40B6-EB84-421C-99A5-1681B2D865F9}"/>
                </a:ext>
              </a:extLst>
            </p:cNvPr>
            <p:cNvSpPr/>
            <p:nvPr userDrawn="1"/>
          </p:nvSpPr>
          <p:spPr>
            <a:xfrm flipH="1">
              <a:off x="3174"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2" name="Rectangle 21">
              <a:extLst>
                <a:ext uri="{FF2B5EF4-FFF2-40B4-BE49-F238E27FC236}">
                  <a16:creationId xmlns:a16="http://schemas.microsoft.com/office/drawing/2014/main" id="{C55A686C-280D-4576-9BD0-79C5575DDC0D}"/>
                </a:ext>
              </a:extLst>
            </p:cNvPr>
            <p:cNvSpPr>
              <a:spLocks/>
            </p:cNvSpPr>
            <p:nvPr userDrawn="1"/>
          </p:nvSpPr>
          <p:spPr>
            <a:xfrm flipH="1">
              <a:off x="127" y="0"/>
              <a:ext cx="12198349" cy="6858000"/>
            </a:xfrm>
            <a:prstGeom prst="rect">
              <a:avLst/>
            </a:prstGeom>
            <a:solidFill>
              <a:schemeClr val="bg2">
                <a:alpha val="5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9" name="Freeform 56">
            <a:extLst>
              <a:ext uri="{FF2B5EF4-FFF2-40B4-BE49-F238E27FC236}">
                <a16:creationId xmlns:a16="http://schemas.microsoft.com/office/drawing/2014/main" id="{092D9817-35E7-4BF1-91A4-EF10B3979014}"/>
              </a:ext>
            </a:extLst>
          </p:cNvPr>
          <p:cNvSpPr/>
          <p:nvPr userDrawn="1"/>
        </p:nvSpPr>
        <p:spPr>
          <a:xfrm>
            <a:off x="362794" y="384149"/>
            <a:ext cx="3137131" cy="2313976"/>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 name="connsiteX0" fmla="*/ 4222873 w 4257675"/>
              <a:gd name="connsiteY0" fmla="*/ 0 h 3113360"/>
              <a:gd name="connsiteX1" fmla="*/ 4257675 w 4257675"/>
              <a:gd name="connsiteY1" fmla="*/ 20556 h 3113360"/>
              <a:gd name="connsiteX2" fmla="*/ 4257675 w 4257675"/>
              <a:gd name="connsiteY2" fmla="*/ 3113360 h 3113360"/>
              <a:gd name="connsiteX3" fmla="*/ 0 w 4257675"/>
              <a:gd name="connsiteY3" fmla="*/ 3113360 h 3113360"/>
              <a:gd name="connsiteX4" fmla="*/ 0 w 4257675"/>
              <a:gd name="connsiteY4" fmla="*/ 767898 h 3113360"/>
              <a:gd name="connsiteX5" fmla="*/ 4222873 w 4257675"/>
              <a:gd name="connsiteY5" fmla="*/ 0 h 3113360"/>
              <a:gd name="connsiteX0" fmla="*/ 4222873 w 4257675"/>
              <a:gd name="connsiteY0" fmla="*/ 10278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4222873 w 4257675"/>
              <a:gd name="connsiteY5" fmla="*/ 10278 h 3123638"/>
              <a:gd name="connsiteX0" fmla="*/ 3501481 w 4257675"/>
              <a:gd name="connsiteY0" fmla="*/ 578125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3501481 w 4257675"/>
              <a:gd name="connsiteY5" fmla="*/ 578125 h 3123638"/>
              <a:gd name="connsiteX0" fmla="*/ 0 w 4257675"/>
              <a:gd name="connsiteY0" fmla="*/ 778176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0" fmla="*/ 0 w 4262846"/>
              <a:gd name="connsiteY0" fmla="*/ 670259 h 3015721"/>
              <a:gd name="connsiteX1" fmla="*/ 4262846 w 4262846"/>
              <a:gd name="connsiteY1" fmla="*/ 0 h 3015721"/>
              <a:gd name="connsiteX2" fmla="*/ 4257675 w 4262846"/>
              <a:gd name="connsiteY2" fmla="*/ 3015721 h 3015721"/>
              <a:gd name="connsiteX3" fmla="*/ 0 w 4262846"/>
              <a:gd name="connsiteY3" fmla="*/ 3015721 h 3015721"/>
              <a:gd name="connsiteX4" fmla="*/ 0 w 4262846"/>
              <a:gd name="connsiteY4" fmla="*/ 670259 h 3015721"/>
              <a:gd name="connsiteX0" fmla="*/ 0 w 4257988"/>
              <a:gd name="connsiteY0" fmla="*/ 775606 h 3121068"/>
              <a:gd name="connsiteX1" fmla="*/ 4255089 w 4257988"/>
              <a:gd name="connsiteY1" fmla="*/ 0 h 3121068"/>
              <a:gd name="connsiteX2" fmla="*/ 4257675 w 4257988"/>
              <a:gd name="connsiteY2" fmla="*/ 3121068 h 3121068"/>
              <a:gd name="connsiteX3" fmla="*/ 0 w 4257988"/>
              <a:gd name="connsiteY3" fmla="*/ 3121068 h 3121068"/>
              <a:gd name="connsiteX4" fmla="*/ 0 w 4257988"/>
              <a:gd name="connsiteY4" fmla="*/ 775606 h 3121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988" h="3121068">
                <a:moveTo>
                  <a:pt x="0" y="775606"/>
                </a:moveTo>
                <a:lnTo>
                  <a:pt x="4255089" y="0"/>
                </a:lnTo>
                <a:cubicBezTo>
                  <a:pt x="4253365" y="1005240"/>
                  <a:pt x="4259399" y="2115828"/>
                  <a:pt x="4257675" y="3121068"/>
                </a:cubicBezTo>
                <a:lnTo>
                  <a:pt x="0" y="3121068"/>
                </a:lnTo>
                <a:lnTo>
                  <a:pt x="0" y="775606"/>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2" name="Title 6">
            <a:extLst>
              <a:ext uri="{FF2B5EF4-FFF2-40B4-BE49-F238E27FC236}">
                <a16:creationId xmlns:a16="http://schemas.microsoft.com/office/drawing/2014/main" id="{1050E8A3-BE76-447C-ABD7-9216FCB3E7AF}"/>
              </a:ext>
            </a:extLst>
          </p:cNvPr>
          <p:cNvSpPr>
            <a:spLocks noGrp="1"/>
          </p:cNvSpPr>
          <p:nvPr>
            <p:ph type="title"/>
          </p:nvPr>
        </p:nvSpPr>
        <p:spPr>
          <a:xfrm>
            <a:off x="588332" y="1277136"/>
            <a:ext cx="2691444" cy="627864"/>
          </a:xfrm>
        </p:spPr>
        <p:txBody>
          <a:bodyPr>
            <a:noAutofit/>
          </a:bodyPr>
          <a:lstStyle>
            <a:lvl1pPr>
              <a:defRPr spc="-20" baseline="0">
                <a:solidFill>
                  <a:schemeClr val="tx1"/>
                </a:solidFill>
              </a:defRPr>
            </a:lvl1pPr>
          </a:lstStyle>
          <a:p>
            <a:r>
              <a:rPr lang="en-US" dirty="0"/>
              <a:t>Click to edit Master title style</a:t>
            </a:r>
          </a:p>
        </p:txBody>
      </p:sp>
      <p:sp>
        <p:nvSpPr>
          <p:cNvPr id="13" name="Text Placeholder 17">
            <a:extLst>
              <a:ext uri="{FF2B5EF4-FFF2-40B4-BE49-F238E27FC236}">
                <a16:creationId xmlns:a16="http://schemas.microsoft.com/office/drawing/2014/main" id="{CCFD753A-DB5F-4CDC-81EE-CF4AAAB0A8F4}"/>
              </a:ext>
            </a:extLst>
          </p:cNvPr>
          <p:cNvSpPr>
            <a:spLocks noGrp="1"/>
          </p:cNvSpPr>
          <p:nvPr>
            <p:ph type="body" sz="quarter" idx="10"/>
          </p:nvPr>
        </p:nvSpPr>
        <p:spPr>
          <a:xfrm>
            <a:off x="588333" y="2230723"/>
            <a:ext cx="2691444" cy="215444"/>
          </a:xfrm>
        </p:spPr>
        <p:txBody>
          <a:bodyPr anchor="b" anchorCtr="0">
            <a:spAutoFit/>
          </a:bodyPr>
          <a:lstStyle>
            <a:lvl1pPr marL="0" indent="0">
              <a:buNone/>
              <a:defRPr sz="1400" spc="-20" baseline="0">
                <a:solidFill>
                  <a:schemeClr val="tx1"/>
                </a:solidFill>
                <a:latin typeface="EYInterstate" panose="02000503020000020004" pitchFamily="2" charset="0"/>
              </a:defRPr>
            </a:lvl1pPr>
            <a:lvl2pPr marL="356616" indent="0">
              <a:buNone/>
              <a:defRPr>
                <a:solidFill>
                  <a:srgbClr val="FF00FF"/>
                </a:solidFill>
              </a:defRPr>
            </a:lvl2pPr>
            <a:lvl3pPr marL="713232" indent="0">
              <a:buNone/>
              <a:defRPr>
                <a:solidFill>
                  <a:srgbClr val="FF00FF"/>
                </a:solidFill>
              </a:defRPr>
            </a:lvl3pPr>
            <a:lvl4pPr marL="1069848" indent="0">
              <a:buNone/>
              <a:defRPr>
                <a:solidFill>
                  <a:srgbClr val="FF00FF"/>
                </a:solidFill>
              </a:defRPr>
            </a:lvl4pPr>
            <a:lvl5pPr marL="1426464" indent="0">
              <a:buNone/>
              <a:defRPr>
                <a:solidFill>
                  <a:srgbClr val="FF00FF"/>
                </a:solidFill>
              </a:defRPr>
            </a:lvl5pPr>
          </a:lstStyle>
          <a:p>
            <a:pPr lvl="0"/>
            <a:r>
              <a:rPr lang="en-US" dirty="0"/>
              <a:t>Click to edit Master text styles</a:t>
            </a:r>
          </a:p>
        </p:txBody>
      </p:sp>
      <p:grpSp>
        <p:nvGrpSpPr>
          <p:cNvPr id="14" name="Group 13">
            <a:extLst>
              <a:ext uri="{FF2B5EF4-FFF2-40B4-BE49-F238E27FC236}">
                <a16:creationId xmlns:a16="http://schemas.microsoft.com/office/drawing/2014/main" id="{ACF7A02C-1AE4-4ADC-B95C-03BCD44F2882}"/>
              </a:ext>
            </a:extLst>
          </p:cNvPr>
          <p:cNvGrpSpPr/>
          <p:nvPr userDrawn="1"/>
        </p:nvGrpSpPr>
        <p:grpSpPr>
          <a:xfrm>
            <a:off x="355600" y="5463363"/>
            <a:ext cx="902140" cy="1056942"/>
            <a:chOff x="376980" y="5454911"/>
            <a:chExt cx="902140" cy="1056942"/>
          </a:xfrm>
        </p:grpSpPr>
        <p:sp>
          <p:nvSpPr>
            <p:cNvPr id="15" name="Freeform 5">
              <a:extLst>
                <a:ext uri="{FF2B5EF4-FFF2-40B4-BE49-F238E27FC236}">
                  <a16:creationId xmlns:a16="http://schemas.microsoft.com/office/drawing/2014/main" id="{36F673A4-220B-473C-A186-5FCC346E1C5D}"/>
                </a:ext>
              </a:extLst>
            </p:cNvPr>
            <p:cNvSpPr>
              <a:spLocks/>
            </p:cNvSpPr>
            <p:nvPr userDrawn="1"/>
          </p:nvSpPr>
          <p:spPr bwMode="auto">
            <a:xfrm>
              <a:off x="376980" y="5454911"/>
              <a:ext cx="723348" cy="26423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 name="Freeform 6">
              <a:extLst>
                <a:ext uri="{FF2B5EF4-FFF2-40B4-BE49-F238E27FC236}">
                  <a16:creationId xmlns:a16="http://schemas.microsoft.com/office/drawing/2014/main" id="{2533B061-85F1-43F8-BA7F-02BBA0A1A803}"/>
                </a:ext>
              </a:extLst>
            </p:cNvPr>
            <p:cNvSpPr>
              <a:spLocks noEditPoints="1"/>
            </p:cNvSpPr>
            <p:nvPr userDrawn="1"/>
          </p:nvSpPr>
          <p:spPr bwMode="auto">
            <a:xfrm>
              <a:off x="376980" y="5827881"/>
              <a:ext cx="902140" cy="683972"/>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pic>
        <p:nvPicPr>
          <p:cNvPr id="17" name="Picture 16">
            <a:extLst>
              <a:ext uri="{FF2B5EF4-FFF2-40B4-BE49-F238E27FC236}">
                <a16:creationId xmlns:a16="http://schemas.microsoft.com/office/drawing/2014/main" id="{12A1520F-EADA-4BA8-87AE-E6D59EE7F00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697903" y="5402072"/>
            <a:ext cx="1336283" cy="1198909"/>
          </a:xfrm>
          <a:prstGeom prst="rect">
            <a:avLst/>
          </a:prstGeom>
        </p:spPr>
      </p:pic>
    </p:spTree>
    <p:extLst>
      <p:ext uri="{BB962C8B-B14F-4D97-AF65-F5344CB8AC3E}">
        <p14:creationId xmlns:p14="http://schemas.microsoft.com/office/powerpoint/2010/main" val="10995280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wid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61AA281-0CD4-45EE-B38A-B96B4FB4CBA6}"/>
              </a:ext>
            </a:extLst>
          </p:cNvPr>
          <p:cNvGrpSpPr/>
          <p:nvPr userDrawn="1"/>
        </p:nvGrpSpPr>
        <p:grpSpPr>
          <a:xfrm>
            <a:off x="-1" y="0"/>
            <a:ext cx="12201526" cy="6858001"/>
            <a:chOff x="-1" y="0"/>
            <a:chExt cx="12201526" cy="6858001"/>
          </a:xfrm>
        </p:grpSpPr>
        <p:pic>
          <p:nvPicPr>
            <p:cNvPr id="12" name="Picture 11" descr="A person looking out a window&#10;&#10;Description automatically generated with medium confidence">
              <a:extLst>
                <a:ext uri="{FF2B5EF4-FFF2-40B4-BE49-F238E27FC236}">
                  <a16:creationId xmlns:a16="http://schemas.microsoft.com/office/drawing/2014/main" id="{AE95D10C-274F-4B8E-9143-914ED60731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 y="0"/>
              <a:ext cx="12198096" cy="6858000"/>
            </a:xfrm>
            <a:prstGeom prst="rect">
              <a:avLst/>
            </a:prstGeom>
          </p:spPr>
        </p:pic>
        <p:sp>
          <p:nvSpPr>
            <p:cNvPr id="13" name="Rectangle 12">
              <a:extLst>
                <a:ext uri="{FF2B5EF4-FFF2-40B4-BE49-F238E27FC236}">
                  <a16:creationId xmlns:a16="http://schemas.microsoft.com/office/drawing/2014/main" id="{F4FF30C3-B383-42A3-BBA3-6A49324380AC}"/>
                </a:ext>
              </a:extLst>
            </p:cNvPr>
            <p:cNvSpPr/>
            <p:nvPr userDrawn="1"/>
          </p:nvSpPr>
          <p:spPr>
            <a:xfrm flipH="1">
              <a:off x="-1"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a:extLst>
                <a:ext uri="{FF2B5EF4-FFF2-40B4-BE49-F238E27FC236}">
                  <a16:creationId xmlns:a16="http://schemas.microsoft.com/office/drawing/2014/main" id="{0DD74109-A3DF-4322-960A-4C8D7B33BB3D}"/>
                </a:ext>
              </a:extLst>
            </p:cNvPr>
            <p:cNvSpPr/>
            <p:nvPr userDrawn="1"/>
          </p:nvSpPr>
          <p:spPr>
            <a:xfrm flipH="1">
              <a:off x="3174"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Rectangle 14">
              <a:extLst>
                <a:ext uri="{FF2B5EF4-FFF2-40B4-BE49-F238E27FC236}">
                  <a16:creationId xmlns:a16="http://schemas.microsoft.com/office/drawing/2014/main" id="{B30AC60F-7310-4071-BB62-337794F81C78}"/>
                </a:ext>
              </a:extLst>
            </p:cNvPr>
            <p:cNvSpPr>
              <a:spLocks/>
            </p:cNvSpPr>
            <p:nvPr userDrawn="1"/>
          </p:nvSpPr>
          <p:spPr>
            <a:xfrm flipH="1">
              <a:off x="127" y="0"/>
              <a:ext cx="12198349" cy="6858000"/>
            </a:xfrm>
            <a:prstGeom prst="rect">
              <a:avLst/>
            </a:prstGeom>
            <a:solidFill>
              <a:schemeClr val="bg2">
                <a:alpha val="5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pic>
        <p:nvPicPr>
          <p:cNvPr id="7" name="Picture 6" descr="A silhouette of a person waving&#10;&#10;Description automatically generated with low confidence">
            <a:extLst>
              <a:ext uri="{FF2B5EF4-FFF2-40B4-BE49-F238E27FC236}">
                <a16:creationId xmlns:a16="http://schemas.microsoft.com/office/drawing/2014/main" id="{05123AC8-5EBA-4DE9-987C-AD139C56CCB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66176" y="384149"/>
            <a:ext cx="3048000" cy="6089904"/>
          </a:xfrm>
          <a:prstGeom prst="rect">
            <a:avLst/>
          </a:prstGeom>
        </p:spPr>
      </p:pic>
      <p:sp>
        <p:nvSpPr>
          <p:cNvPr id="8" name="Text Box 8">
            <a:extLst>
              <a:ext uri="{FF2B5EF4-FFF2-40B4-BE49-F238E27FC236}">
                <a16:creationId xmlns:a16="http://schemas.microsoft.com/office/drawing/2014/main" id="{5144AFD5-3C84-475F-949F-7B9D80BE6263}"/>
              </a:ext>
            </a:extLst>
          </p:cNvPr>
          <p:cNvSpPr txBox="1">
            <a:spLocks/>
          </p:cNvSpPr>
          <p:nvPr userDrawn="1"/>
        </p:nvSpPr>
        <p:spPr>
          <a:xfrm>
            <a:off x="8766176" y="384149"/>
            <a:ext cx="3048000" cy="6092851"/>
          </a:xfrm>
          <a:prstGeom prst="rect">
            <a:avLst/>
          </a:prstGeom>
          <a:solidFill>
            <a:schemeClr val="bg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algn="ctr">
              <a:defRPr sz="12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dirty="0"/>
          </a:p>
        </p:txBody>
      </p:sp>
    </p:spTree>
    <p:extLst>
      <p:ext uri="{BB962C8B-B14F-4D97-AF65-F5344CB8AC3E}">
        <p14:creationId xmlns:p14="http://schemas.microsoft.com/office/powerpoint/2010/main" val="2896230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EFB49B-9094-428B-B9F5-9FD59DC149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1965827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772AD2-965B-454F-986E-0B1C1C5BB818}"/>
              </a:ext>
            </a:extLst>
          </p:cNvPr>
          <p:cNvGraphicFramePr>
            <a:graphicFrameLocks noChangeAspect="1"/>
          </p:cNvGraphicFramePr>
          <p:nvPr userDrawn="1">
            <p:custDataLst>
              <p:tags r:id="rId6"/>
            </p:custDataLst>
            <p:extLst>
              <p:ext uri="{D42A27DB-BD31-4B8C-83A1-F6EECF244321}">
                <p14:modId xmlns:p14="http://schemas.microsoft.com/office/powerpoint/2010/main" val="151187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4" hidden="1">
                        <a:extLst>
                          <a:ext uri="{FF2B5EF4-FFF2-40B4-BE49-F238E27FC236}">
                            <a16:creationId xmlns:a16="http://schemas.microsoft.com/office/drawing/2014/main" id="{FD772AD2-965B-454F-986E-0B1C1C5BB8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6" name="Group 5">
            <a:extLst>
              <a:ext uri="{FF2B5EF4-FFF2-40B4-BE49-F238E27FC236}">
                <a16:creationId xmlns:a16="http://schemas.microsoft.com/office/drawing/2014/main" id="{D826ADA4-5A9A-4040-A29B-72D17D66E0F8}"/>
              </a:ext>
            </a:extLst>
          </p:cNvPr>
          <p:cNvGrpSpPr/>
          <p:nvPr userDrawn="1"/>
        </p:nvGrpSpPr>
        <p:grpSpPr>
          <a:xfrm>
            <a:off x="355600" y="5463363"/>
            <a:ext cx="902140" cy="1056942"/>
            <a:chOff x="376980" y="5454911"/>
            <a:chExt cx="902140" cy="1056942"/>
          </a:xfrm>
        </p:grpSpPr>
        <p:sp>
          <p:nvSpPr>
            <p:cNvPr id="7" name="Freeform 5">
              <a:extLst>
                <a:ext uri="{FF2B5EF4-FFF2-40B4-BE49-F238E27FC236}">
                  <a16:creationId xmlns:a16="http://schemas.microsoft.com/office/drawing/2014/main" id="{2861E121-5E48-478F-B656-E7F8427B6F7E}"/>
                </a:ext>
              </a:extLst>
            </p:cNvPr>
            <p:cNvSpPr>
              <a:spLocks/>
            </p:cNvSpPr>
            <p:nvPr userDrawn="1"/>
          </p:nvSpPr>
          <p:spPr bwMode="auto">
            <a:xfrm>
              <a:off x="376980" y="5454911"/>
              <a:ext cx="723348" cy="26423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8" name="Freeform 6">
              <a:extLst>
                <a:ext uri="{FF2B5EF4-FFF2-40B4-BE49-F238E27FC236}">
                  <a16:creationId xmlns:a16="http://schemas.microsoft.com/office/drawing/2014/main" id="{A1982727-4D4F-4DCC-AC25-F7EFB902C79F}"/>
                </a:ext>
              </a:extLst>
            </p:cNvPr>
            <p:cNvSpPr>
              <a:spLocks noEditPoints="1"/>
            </p:cNvSpPr>
            <p:nvPr userDrawn="1"/>
          </p:nvSpPr>
          <p:spPr bwMode="auto">
            <a:xfrm>
              <a:off x="376980" y="5827881"/>
              <a:ext cx="902140" cy="683972"/>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pic>
        <p:nvPicPr>
          <p:cNvPr id="9" name="Picture 8">
            <a:extLst>
              <a:ext uri="{FF2B5EF4-FFF2-40B4-BE49-F238E27FC236}">
                <a16:creationId xmlns:a16="http://schemas.microsoft.com/office/drawing/2014/main" id="{2A85AFBC-6A33-45F2-9BA8-D481E9DD487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697903" y="5402072"/>
            <a:ext cx="1336283" cy="1198909"/>
          </a:xfrm>
          <a:prstGeom prst="rect">
            <a:avLst/>
          </a:prstGeom>
        </p:spPr>
      </p:pic>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25" r:id="rId1"/>
    <p:sldLayoutId id="2147483832" r:id="rId2"/>
    <p:sldLayoutId id="2147483831" r:id="rId3"/>
    <p:sldLayoutId id="2147483829" r:id="rId4"/>
  </p:sldLayoutIdLst>
  <p:hf sldNum="0"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386" userDrawn="1">
          <p15:clr>
            <a:srgbClr val="F26B43"/>
          </p15:clr>
        </p15:guide>
        <p15:guide id="4" pos="7298" userDrawn="1">
          <p15:clr>
            <a:srgbClr val="F26B43"/>
          </p15:clr>
        </p15:guide>
        <p15:guide id="5" pos="22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ey.com/pega" TargetMode="External"/><Relationship Id="rId3" Type="http://schemas.openxmlformats.org/officeDocument/2006/relationships/notesSlide" Target="../notesSlides/notesSlide2.xml"/><Relationship Id="rId7" Type="http://schemas.openxmlformats.org/officeDocument/2006/relationships/hyperlink" Target="mailto:suzanne.clayton@pega.com" TargetMode="Externa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1.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hyperlink" Target="mailto:linga.angappagounder@ey.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8">
            <a:extLst>
              <a:ext uri="{FF2B5EF4-FFF2-40B4-BE49-F238E27FC236}">
                <a16:creationId xmlns:a16="http://schemas.microsoft.com/office/drawing/2014/main" id="{13690BA7-7C4E-42DB-8BA7-F7769ECB5BE5}"/>
              </a:ext>
            </a:extLst>
          </p:cNvPr>
          <p:cNvSpPr txBox="1">
            <a:spLocks/>
          </p:cNvSpPr>
          <p:nvPr userDrawn="1"/>
        </p:nvSpPr>
        <p:spPr>
          <a:xfrm>
            <a:off x="3732213" y="384149"/>
            <a:ext cx="8077199" cy="12757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182880" rIns="0" bIns="182880" numCol="1" spcCol="182880" rtlCol="0" fromWordArt="0" anchor="t" anchorCtr="0" forceAA="0" compatLnSpc="1">
            <a:prstTxWarp prst="textNoShape">
              <a:avLst/>
            </a:prstTxWarp>
            <a:spAutoFit/>
          </a:bodyPr>
          <a:lstStyle/>
          <a:p>
            <a:pPr>
              <a:spcAft>
                <a:spcPts val="600"/>
              </a:spcAft>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Business drivers</a:t>
            </a:r>
            <a:endParaRPr lang="en-US" sz="1400" dirty="0">
              <a:solidFill>
                <a:srgbClr val="747480"/>
              </a:solidFill>
              <a:effectLst/>
              <a:latin typeface="+mj-lt"/>
              <a:ea typeface="Calibri" panose="020F0502020204030204" pitchFamily="34" charset="0"/>
              <a:cs typeface="Times New Roman" panose="02020603050405020304" pitchFamily="18" charset="0"/>
            </a:endParaRPr>
          </a:p>
          <a:p>
            <a:pPr>
              <a:lnSpc>
                <a:spcPct val="95000"/>
              </a:lnSpc>
              <a:spcAft>
                <a:spcPts val="600"/>
              </a:spcAft>
              <a:buClr>
                <a:schemeClr val="accent2"/>
              </a:buClr>
              <a:buSzPct val="70000"/>
              <a:defRPr/>
            </a:pPr>
            <a:r>
              <a:rPr lang="en-US" sz="1050" dirty="0">
                <a:solidFill>
                  <a:schemeClr val="bg1"/>
                </a:solidFill>
                <a:effectLst/>
                <a:ea typeface="Times New Roman" panose="02020603050405020304" pitchFamily="18" charset="0"/>
                <a:cs typeface="Times New Roman" panose="02020603050405020304" pitchFamily="18" charset="0"/>
              </a:rPr>
              <a:t>Insurers are missing key opportunities for relationship-building and deepening generational relationships with the client and beneficiary by not leveraging beneficiary changes as a time to proactively service a client’s account or their holdings. Life 500 Proactive Customer Service addresses this lack of proactive, personalized care that leaves gaps in addressing customer needs for asset protection and growth at a time when beneficiaries are likely to leverage third-party advisor for investments.</a:t>
            </a:r>
            <a:endParaRPr lang="en-IN" sz="1050" dirty="0">
              <a:solidFill>
                <a:schemeClr val="bg1"/>
              </a:solidFill>
              <a:latin typeface="EYInterstate Light"/>
              <a:cs typeface="Times New Roman"/>
            </a:endParaRPr>
          </a:p>
        </p:txBody>
      </p:sp>
      <p:sp>
        <p:nvSpPr>
          <p:cNvPr id="33" name="Text Box 8">
            <a:extLst>
              <a:ext uri="{FF2B5EF4-FFF2-40B4-BE49-F238E27FC236}">
                <a16:creationId xmlns:a16="http://schemas.microsoft.com/office/drawing/2014/main" id="{7BC40019-C20B-4B55-9358-C712FDE6B8A1}"/>
              </a:ext>
            </a:extLst>
          </p:cNvPr>
          <p:cNvSpPr txBox="1">
            <a:spLocks/>
          </p:cNvSpPr>
          <p:nvPr userDrawn="1"/>
        </p:nvSpPr>
        <p:spPr>
          <a:xfrm>
            <a:off x="3756400" y="2000532"/>
            <a:ext cx="3840480" cy="304198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182880" rtlCol="0" fromWordArt="0" anchor="t" anchorCtr="0" forceAA="0" compatLnSpc="1">
            <a:prstTxWarp prst="textNoShape">
              <a:avLst/>
            </a:prstTxWarp>
            <a:spAutoFit/>
          </a:bodyPr>
          <a:lstStyle/>
          <a:p>
            <a:pPr>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Offering overview</a:t>
            </a:r>
          </a:p>
          <a:p>
            <a:pPr>
              <a:buClr>
                <a:schemeClr val="accent2"/>
              </a:buClr>
              <a:buSzPct val="70000"/>
            </a:pPr>
            <a:endParaRPr lang="en-IN" sz="900" i="1" dirty="0">
              <a:solidFill>
                <a:schemeClr val="bg1"/>
              </a:solidFill>
              <a:effectLst/>
              <a:latin typeface="EYInterstate Light"/>
              <a:ea typeface="Calibri" panose="020F0502020204030204" pitchFamily="34" charset="0"/>
              <a:cs typeface="Times New Roman"/>
            </a:endParaRPr>
          </a:p>
          <a:p>
            <a:pPr marR="0" lvl="0" indent="0" fontAlgn="auto">
              <a:lnSpc>
                <a:spcPct val="95000"/>
              </a:lnSpc>
              <a:spcBef>
                <a:spcPts val="400"/>
              </a:spcBef>
              <a:spcAft>
                <a:spcPts val="600"/>
              </a:spcAft>
              <a:buClr>
                <a:schemeClr val="accent2"/>
              </a:buClr>
              <a:buSzPct val="70000"/>
              <a:buFontTx/>
              <a:buNone/>
              <a:tabLst/>
              <a:defRPr/>
            </a:pPr>
            <a:r>
              <a:rPr lang="en-US" sz="1050" dirty="0">
                <a:solidFill>
                  <a:schemeClr val="bg1"/>
                </a:solidFill>
                <a:latin typeface="EYInterstate Light"/>
                <a:cs typeface="Times New Roman"/>
              </a:rPr>
              <a:t>The Life 500 Proactive Customer Service offering increases personalized proactive customer service for life insurance and annuities clients. </a:t>
            </a:r>
          </a:p>
          <a:p>
            <a:pPr marL="171450" marR="0" lvl="0" indent="-171450" fontAlgn="auto">
              <a:lnSpc>
                <a:spcPct val="95000"/>
              </a:lnSpc>
              <a:spcBef>
                <a:spcPts val="400"/>
              </a:spcBef>
              <a:spcAft>
                <a:spcPts val="600"/>
              </a:spcAft>
              <a:buClr>
                <a:srgbClr val="FFE600"/>
              </a:buClr>
              <a:buSzPct val="110000"/>
              <a:buFont typeface="EYInterstate Light" panose="02000506000000020004" pitchFamily="2" charset="0"/>
              <a:buChar char="•"/>
              <a:tabLst/>
              <a:defRPr/>
            </a:pPr>
            <a:r>
              <a:rPr lang="en-US" sz="1050" dirty="0">
                <a:solidFill>
                  <a:schemeClr val="bg1"/>
                </a:solidFill>
                <a:latin typeface="EYInterstate Light"/>
                <a:cs typeface="Times New Roman"/>
              </a:rPr>
              <a:t>Adaptive offering makes recommendations across different channels </a:t>
            </a:r>
          </a:p>
          <a:p>
            <a:pPr marL="171450" marR="0" lvl="0" indent="-171450" fontAlgn="auto">
              <a:lnSpc>
                <a:spcPct val="95000"/>
              </a:lnSpc>
              <a:spcBef>
                <a:spcPts val="400"/>
              </a:spcBef>
              <a:spcAft>
                <a:spcPts val="600"/>
              </a:spcAft>
              <a:buClr>
                <a:srgbClr val="FFE600"/>
              </a:buClr>
              <a:buSzPct val="110000"/>
              <a:buFont typeface="EYInterstate Light" panose="02000506000000020004" pitchFamily="2" charset="0"/>
              <a:buChar char="•"/>
              <a:tabLst/>
              <a:defRPr/>
            </a:pPr>
            <a:r>
              <a:rPr lang="en-US" sz="1050" dirty="0">
                <a:solidFill>
                  <a:schemeClr val="bg1"/>
                </a:solidFill>
                <a:latin typeface="EYInterstate Light"/>
                <a:cs typeface="Times New Roman"/>
              </a:rPr>
              <a:t>More meaningful continuous customer engagement and improved customer experience</a:t>
            </a:r>
          </a:p>
          <a:p>
            <a:pPr marL="171450" marR="0" lvl="0" indent="-171450" fontAlgn="auto">
              <a:lnSpc>
                <a:spcPct val="95000"/>
              </a:lnSpc>
              <a:spcBef>
                <a:spcPts val="400"/>
              </a:spcBef>
              <a:spcAft>
                <a:spcPts val="600"/>
              </a:spcAft>
              <a:buClr>
                <a:srgbClr val="FFE600"/>
              </a:buClr>
              <a:buSzPct val="110000"/>
              <a:buFont typeface="EYInterstate Light" panose="02000506000000020004" pitchFamily="2" charset="0"/>
              <a:buChar char="•"/>
              <a:tabLst/>
              <a:defRPr/>
            </a:pPr>
            <a:r>
              <a:rPr lang="en-US" sz="1050" dirty="0">
                <a:solidFill>
                  <a:schemeClr val="bg1"/>
                </a:solidFill>
                <a:latin typeface="EYInterstate Light"/>
                <a:cs typeface="Times New Roman"/>
              </a:rPr>
              <a:t>Decisioning strategies and propositions for Next Best Action (NBA)</a:t>
            </a:r>
          </a:p>
          <a:p>
            <a:pPr marL="171450" marR="0" lvl="0" indent="-171450" fontAlgn="auto">
              <a:lnSpc>
                <a:spcPct val="95000"/>
              </a:lnSpc>
              <a:spcBef>
                <a:spcPts val="400"/>
              </a:spcBef>
              <a:spcAft>
                <a:spcPts val="600"/>
              </a:spcAft>
              <a:buClr>
                <a:srgbClr val="FFE600"/>
              </a:buClr>
              <a:buSzPct val="110000"/>
              <a:buFont typeface="EYInterstate Light" panose="02000506000000020004" pitchFamily="2" charset="0"/>
              <a:buChar char="•"/>
              <a:tabLst/>
              <a:defRPr/>
            </a:pPr>
            <a:r>
              <a:rPr lang="en-US" sz="1050" dirty="0">
                <a:solidFill>
                  <a:schemeClr val="bg1"/>
                </a:solidFill>
                <a:latin typeface="EYInterstate Light"/>
                <a:cs typeface="Times New Roman"/>
              </a:rPr>
              <a:t>Seamless omnichannel customer (agent experience (AX) and customer experience (CX)) care journey </a:t>
            </a:r>
          </a:p>
          <a:p>
            <a:pPr marL="171450" marR="0" lvl="0" indent="-171450" fontAlgn="auto">
              <a:lnSpc>
                <a:spcPct val="95000"/>
              </a:lnSpc>
              <a:spcBef>
                <a:spcPts val="400"/>
              </a:spcBef>
              <a:spcAft>
                <a:spcPts val="600"/>
              </a:spcAft>
              <a:buClr>
                <a:srgbClr val="FFE600"/>
              </a:buClr>
              <a:buSzPct val="110000"/>
              <a:buFont typeface="EYInterstate Light" panose="02000506000000020004" pitchFamily="2" charset="0"/>
              <a:buChar char="•"/>
              <a:tabLst/>
              <a:defRPr/>
            </a:pPr>
            <a:r>
              <a:rPr lang="en-US" sz="1050" dirty="0">
                <a:solidFill>
                  <a:schemeClr val="bg1"/>
                </a:solidFill>
                <a:latin typeface="EYInterstate Light"/>
                <a:cs typeface="Times New Roman"/>
              </a:rPr>
              <a:t>More proactive customer care through publicly available data</a:t>
            </a:r>
          </a:p>
        </p:txBody>
      </p:sp>
      <p:cxnSp>
        <p:nvCxnSpPr>
          <p:cNvPr id="42" name="Straight Connector 41">
            <a:extLst>
              <a:ext uri="{FF2B5EF4-FFF2-40B4-BE49-F238E27FC236}">
                <a16:creationId xmlns:a16="http://schemas.microsoft.com/office/drawing/2014/main" id="{739BDC76-F724-4F56-8590-B493F830AFA2}"/>
              </a:ext>
            </a:extLst>
          </p:cNvPr>
          <p:cNvCxnSpPr>
            <a:cxnSpLocks/>
          </p:cNvCxnSpPr>
          <p:nvPr/>
        </p:nvCxnSpPr>
        <p:spPr>
          <a:xfrm>
            <a:off x="3736975" y="1659883"/>
            <a:ext cx="8077200"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22" name="Text Box 8">
            <a:extLst>
              <a:ext uri="{FF2B5EF4-FFF2-40B4-BE49-F238E27FC236}">
                <a16:creationId xmlns:a16="http://schemas.microsoft.com/office/drawing/2014/main" id="{9539A8DC-6217-4B3C-9CE1-B6EFC424C16A}"/>
              </a:ext>
            </a:extLst>
          </p:cNvPr>
          <p:cNvSpPr txBox="1">
            <a:spLocks/>
          </p:cNvSpPr>
          <p:nvPr/>
        </p:nvSpPr>
        <p:spPr>
          <a:xfrm>
            <a:off x="7968932" y="2000532"/>
            <a:ext cx="3840480" cy="313393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182880" rtlCol="0" fromWordArt="0" anchor="t" anchorCtr="0" forceAA="0" compatLnSpc="1">
            <a:prstTxWarp prst="textNoShape">
              <a:avLst/>
            </a:prstTxWarp>
            <a:spAutoFit/>
          </a:bodyPr>
          <a:lstStyle/>
          <a:p>
            <a:pPr>
              <a:spcAft>
                <a:spcPts val="600"/>
              </a:spcAft>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Offering</a:t>
            </a:r>
            <a:r>
              <a:rPr lang="en-US" sz="1400" spc="-30" dirty="0">
                <a:solidFill>
                  <a:srgbClr val="FFE600"/>
                </a:solidFill>
                <a:latin typeface="EYInterstate" panose="02000503020000020004" pitchFamily="2" charset="0"/>
              </a:rPr>
              <a:t> benefits</a:t>
            </a:r>
          </a:p>
          <a:p>
            <a:pPr>
              <a:lnSpc>
                <a:spcPct val="95000"/>
              </a:lnSpc>
              <a:spcBef>
                <a:spcPts val="400"/>
              </a:spcBef>
              <a:spcAft>
                <a:spcPts val="600"/>
              </a:spcAft>
              <a:buClr>
                <a:schemeClr val="accent2"/>
              </a:buClr>
              <a:buSzPct val="70000"/>
              <a:defRPr/>
            </a:pPr>
            <a:r>
              <a:rPr lang="en-US" sz="1050" dirty="0">
                <a:solidFill>
                  <a:schemeClr val="bg1"/>
                </a:solidFill>
                <a:latin typeface="EYInterstate Light"/>
                <a:cs typeface="Times New Roman"/>
              </a:rPr>
              <a:t>Carriers do not leverage beneficiary changes as a moment to proactively service a client’s account or their holdings and miss an opportunity for relationship-building with the client and beneficiary. Utilizing the Life 500 Proactive Customer Service offering leads to:</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US" sz="1050" dirty="0">
                <a:solidFill>
                  <a:schemeClr val="bg1"/>
                </a:solidFill>
                <a:latin typeface="EYInterstate Light"/>
                <a:cs typeface="Times New Roman"/>
              </a:rPr>
              <a:t>Proactive service strategy</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US" sz="1050" dirty="0">
                <a:solidFill>
                  <a:schemeClr val="bg1"/>
                </a:solidFill>
                <a:latin typeface="EYInterstate Light"/>
                <a:cs typeface="Times New Roman"/>
              </a:rPr>
              <a:t>Proactive, personalized care for addressing customer needs for asset protection and growth</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US" sz="1050" dirty="0">
                <a:solidFill>
                  <a:schemeClr val="bg1"/>
                </a:solidFill>
                <a:latin typeface="EYInterstate Light"/>
                <a:cs typeface="Times New Roman"/>
              </a:rPr>
              <a:t>Contacting beneficiaries periodically, and not only at the time of a claim </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US" sz="1050" dirty="0">
                <a:solidFill>
                  <a:schemeClr val="bg1"/>
                </a:solidFill>
                <a:latin typeface="EYInterstate Light"/>
                <a:cs typeface="Times New Roman"/>
              </a:rPr>
              <a:t>Updating current contact info to deepen generational relationships</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US" sz="1050" dirty="0">
                <a:solidFill>
                  <a:schemeClr val="bg1"/>
                </a:solidFill>
                <a:latin typeface="EYInterstate Light"/>
                <a:cs typeface="Times New Roman"/>
              </a:rPr>
              <a:t>Keeps the customer relationship transactional, increasing lifetime value and product spread</a:t>
            </a:r>
          </a:p>
        </p:txBody>
      </p:sp>
      <p:cxnSp>
        <p:nvCxnSpPr>
          <p:cNvPr id="24" name="Straight Connector 23">
            <a:extLst>
              <a:ext uri="{FF2B5EF4-FFF2-40B4-BE49-F238E27FC236}">
                <a16:creationId xmlns:a16="http://schemas.microsoft.com/office/drawing/2014/main" id="{BE07E435-A491-41F4-AF52-D6FCDB190D36}"/>
              </a:ext>
            </a:extLst>
          </p:cNvPr>
          <p:cNvCxnSpPr>
            <a:cxnSpLocks/>
          </p:cNvCxnSpPr>
          <p:nvPr/>
        </p:nvCxnSpPr>
        <p:spPr>
          <a:xfrm>
            <a:off x="3736975" y="384149"/>
            <a:ext cx="8077200"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C70843B4-E90D-4573-A06C-E845B5B96A08}"/>
              </a:ext>
            </a:extLst>
          </p:cNvPr>
          <p:cNvSpPr>
            <a:spLocks noGrp="1"/>
          </p:cNvSpPr>
          <p:nvPr>
            <p:ph type="title"/>
          </p:nvPr>
        </p:nvSpPr>
        <p:spPr/>
        <p:txBody>
          <a:bodyPr/>
          <a:lstStyle/>
          <a:p>
            <a:r>
              <a:rPr kumimoji="0" lang="en-US" sz="2400" b="0" i="0" u="none" strike="noStrike" kern="1200" cap="none" spc="0" normalizeH="0" baseline="0" noProof="0" dirty="0">
                <a:ln>
                  <a:noFill/>
                </a:ln>
                <a:solidFill>
                  <a:schemeClr val="bg2"/>
                </a:solidFill>
                <a:effectLst/>
                <a:uLnTx/>
                <a:uFillTx/>
                <a:latin typeface="+mn-lt"/>
                <a:ea typeface="Calibri" panose="020F0502020204030204" pitchFamily="34" charset="0"/>
                <a:cs typeface="Times New Roman"/>
              </a:rPr>
              <a:t>Life 500 Proactive Customer Service </a:t>
            </a:r>
            <a:endParaRPr lang="en-US" dirty="0">
              <a:solidFill>
                <a:schemeClr val="bg2"/>
              </a:solidFill>
            </a:endParaRPr>
          </a:p>
        </p:txBody>
      </p:sp>
      <p:sp>
        <p:nvSpPr>
          <p:cNvPr id="7" name="Text Placeholder 6">
            <a:extLst>
              <a:ext uri="{FF2B5EF4-FFF2-40B4-BE49-F238E27FC236}">
                <a16:creationId xmlns:a16="http://schemas.microsoft.com/office/drawing/2014/main" id="{929FCC5E-B0AC-4269-A57F-BF1091C846F7}"/>
              </a:ext>
            </a:extLst>
          </p:cNvPr>
          <p:cNvSpPr>
            <a:spLocks noGrp="1"/>
          </p:cNvSpPr>
          <p:nvPr>
            <p:ph type="body" sz="quarter" idx="10"/>
          </p:nvPr>
        </p:nvSpPr>
        <p:spPr/>
        <p:txBody>
          <a:bodyPr/>
          <a:lstStyle/>
          <a:p>
            <a:r>
              <a:rPr lang="en-US" dirty="0"/>
              <a:t>AI-powered personalization to drive your loyalty program </a:t>
            </a:r>
          </a:p>
        </p:txBody>
      </p:sp>
    </p:spTree>
    <p:extLst>
      <p:ext uri="{BB962C8B-B14F-4D97-AF65-F5344CB8AC3E}">
        <p14:creationId xmlns:p14="http://schemas.microsoft.com/office/powerpoint/2010/main" val="252868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8">
            <a:extLst>
              <a:ext uri="{FF2B5EF4-FFF2-40B4-BE49-F238E27FC236}">
                <a16:creationId xmlns:a16="http://schemas.microsoft.com/office/drawing/2014/main" id="{5FE9A79D-4FFF-4D55-BA77-0218A8ADBE2D}"/>
              </a:ext>
            </a:extLst>
          </p:cNvPr>
          <p:cNvSpPr txBox="1">
            <a:spLocks/>
          </p:cNvSpPr>
          <p:nvPr/>
        </p:nvSpPr>
        <p:spPr>
          <a:xfrm>
            <a:off x="359098" y="4222860"/>
            <a:ext cx="5740077" cy="1298100"/>
          </a:xfrm>
          <a:prstGeom prst="rect">
            <a:avLst/>
          </a:prstGeom>
          <a:noFill/>
          <a:ln w="25400" cap="flat" cmpd="sng" algn="ctr">
            <a:solidFill>
              <a:srgbClr val="FFE600"/>
            </a:solidFill>
            <a:prstDash val="solid"/>
            <a:miter lim="800000"/>
            <a:headEnd type="none" w="med" len="med"/>
            <a:tailEnd type="none" w="med" len="med"/>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82880" tIns="91440" rIns="182880" bIns="91440" numCol="1" spcCol="182880" rtlCol="0" fromWordArt="0" anchor="t" anchorCtr="0" forceAA="0" compatLnSpc="1">
            <a:prstTxWarp prst="textNoShape">
              <a:avLst/>
            </a:prstTxWarp>
            <a:noAutofit/>
          </a:bodyPr>
          <a:lstStyle/>
          <a:p>
            <a:pPr>
              <a:buClr>
                <a:schemeClr val="accent2"/>
              </a:buClr>
              <a:buSzPct val="70000"/>
            </a:pPr>
            <a:r>
              <a:rPr lang="en-US" sz="1400" spc="-30">
                <a:solidFill>
                  <a:srgbClr val="FFE600"/>
                </a:solidFill>
                <a:latin typeface="EYInterstate" panose="02000503020000020004" pitchFamily="2" charset="0"/>
              </a:rPr>
              <a:t>  EY</a:t>
            </a:r>
            <a:endParaRPr lang="en-US" sz="1400" spc="-30" dirty="0">
              <a:solidFill>
                <a:srgbClr val="FFE600"/>
              </a:solidFill>
              <a:latin typeface="EYInterstate" panose="02000503020000020004" pitchFamily="2" charset="0"/>
            </a:endParaRPr>
          </a:p>
        </p:txBody>
      </p:sp>
      <p:graphicFrame>
        <p:nvGraphicFramePr>
          <p:cNvPr id="7" name="Object 6" hidden="1">
            <a:extLst>
              <a:ext uri="{FF2B5EF4-FFF2-40B4-BE49-F238E27FC236}">
                <a16:creationId xmlns:a16="http://schemas.microsoft.com/office/drawing/2014/main" id="{34ADBD4C-7EF2-4A09-BA1B-5157D745E94E}"/>
              </a:ext>
            </a:extLst>
          </p:cNvPr>
          <p:cNvGraphicFramePr>
            <a:graphicFrameLocks noChangeAspect="1"/>
          </p:cNvGraphicFramePr>
          <p:nvPr>
            <p:custDataLst>
              <p:tags r:id="rId1"/>
            </p:custDataLst>
            <p:extLst>
              <p:ext uri="{D42A27DB-BD31-4B8C-83A1-F6EECF244321}">
                <p14:modId xmlns:p14="http://schemas.microsoft.com/office/powerpoint/2010/main" val="4088601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34ADBD4C-7EF2-4A09-BA1B-5157D745E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5" name="Straight Connector 94">
            <a:extLst>
              <a:ext uri="{FF2B5EF4-FFF2-40B4-BE49-F238E27FC236}">
                <a16:creationId xmlns:a16="http://schemas.microsoft.com/office/drawing/2014/main" id="{A8C9C85F-F40B-4A94-9A47-B8FD2653DEBA}"/>
              </a:ext>
            </a:extLst>
          </p:cNvPr>
          <p:cNvCxnSpPr>
            <a:cxnSpLocks/>
          </p:cNvCxnSpPr>
          <p:nvPr/>
        </p:nvCxnSpPr>
        <p:spPr>
          <a:xfrm>
            <a:off x="384173" y="384149"/>
            <a:ext cx="8153402" cy="0"/>
          </a:xfrm>
          <a:prstGeom prst="line">
            <a:avLst/>
          </a:prstGeom>
          <a:ln w="25400"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F9767B6-5E69-4EBF-B2F3-D06B900ECFDC}"/>
              </a:ext>
            </a:extLst>
          </p:cNvPr>
          <p:cNvSpPr txBox="1"/>
          <p:nvPr/>
        </p:nvSpPr>
        <p:spPr>
          <a:xfrm>
            <a:off x="384174" y="652141"/>
            <a:ext cx="3977640" cy="215444"/>
          </a:xfrm>
          <a:prstGeom prst="rect">
            <a:avLst/>
          </a:prstGeom>
          <a:noFill/>
        </p:spPr>
        <p:txBody>
          <a:bodyPr wrap="square" lIns="0" tIns="0" rIns="0" bIns="0">
            <a:spAutoFit/>
          </a:bodyPr>
          <a:lstStyle/>
          <a:p>
            <a:pPr>
              <a:spcAft>
                <a:spcPts val="600"/>
              </a:spcAft>
              <a:buClr>
                <a:schemeClr val="accent2"/>
              </a:buClr>
              <a:buSzPct val="70000"/>
            </a:pPr>
            <a:r>
              <a:rPr lang="en-US" sz="1400" spc="-30" dirty="0">
                <a:solidFill>
                  <a:srgbClr val="FFE600"/>
                </a:solidFill>
                <a:latin typeface="EYInterstate" panose="02000503020000020004" pitchFamily="2" charset="0"/>
              </a:rPr>
              <a:t>Joint value proposition </a:t>
            </a:r>
          </a:p>
        </p:txBody>
      </p:sp>
      <p:sp>
        <p:nvSpPr>
          <p:cNvPr id="27" name="TextBox 26">
            <a:extLst>
              <a:ext uri="{FF2B5EF4-FFF2-40B4-BE49-F238E27FC236}">
                <a16:creationId xmlns:a16="http://schemas.microsoft.com/office/drawing/2014/main" id="{3219313E-C218-4B8D-8DF6-E5066292771C}"/>
              </a:ext>
            </a:extLst>
          </p:cNvPr>
          <p:cNvSpPr txBox="1"/>
          <p:nvPr/>
        </p:nvSpPr>
        <p:spPr>
          <a:xfrm>
            <a:off x="4560316" y="652141"/>
            <a:ext cx="3977259" cy="1579663"/>
          </a:xfrm>
          <a:prstGeom prst="rect">
            <a:avLst/>
          </a:prstGeom>
          <a:noFill/>
        </p:spPr>
        <p:txBody>
          <a:bodyPr wrap="square" lIns="0" tIns="0" rIns="0" bIns="0">
            <a:spAutoFit/>
          </a:bodyPr>
          <a:lstStyle/>
          <a:p>
            <a:pPr>
              <a:spcAft>
                <a:spcPts val="600"/>
              </a:spcAft>
              <a:buClr>
                <a:schemeClr val="accent2"/>
              </a:buClr>
              <a:buSzPct val="70000"/>
            </a:pPr>
            <a:r>
              <a:rPr lang="en-US" sz="1400" spc="-30" dirty="0">
                <a:solidFill>
                  <a:srgbClr val="FFE600"/>
                </a:solidFill>
                <a:latin typeface="EYInterstate" panose="02000503020000020004" pitchFamily="2" charset="0"/>
              </a:rPr>
              <a:t>Offering differentiators</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Life 500 Proactive Customer Service is designed to prompt service professionals and agents to take proactive service actions to remove roadblocks from converting beneficiaries into clients.</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The offering leverages carrier and third-party demographic data to generate conversion probability and product recommendations.</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The offering automatically adjusts product recommendations based on financial data gathered.</a:t>
            </a:r>
          </a:p>
        </p:txBody>
      </p:sp>
      <p:sp>
        <p:nvSpPr>
          <p:cNvPr id="37" name="Rectangle 42">
            <a:extLst>
              <a:ext uri="{FF2B5EF4-FFF2-40B4-BE49-F238E27FC236}">
                <a16:creationId xmlns:a16="http://schemas.microsoft.com/office/drawing/2014/main" id="{DB399BE4-F970-4214-AE4A-E2292B1A57B5}"/>
              </a:ext>
            </a:extLst>
          </p:cNvPr>
          <p:cNvSpPr>
            <a:spLocks noChangeArrowheads="1"/>
          </p:cNvSpPr>
          <p:nvPr/>
        </p:nvSpPr>
        <p:spPr bwMode="auto">
          <a:xfrm>
            <a:off x="3406876" y="4356856"/>
            <a:ext cx="41479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r>
              <a:rPr lang="en-US" altLang="en-US" sz="1400" dirty="0" err="1">
                <a:solidFill>
                  <a:srgbClr val="FFE600"/>
                </a:solidFill>
                <a:latin typeface="EYInterstate" panose="02000503020000020004" pitchFamily="2" charset="0"/>
              </a:rPr>
              <a:t>Pega</a:t>
            </a:r>
            <a:endParaRPr lang="en-IN" sz="1100" dirty="0">
              <a:solidFill>
                <a:srgbClr val="FFE600"/>
              </a:solidFill>
              <a:latin typeface="EYInterstate" panose="02000503020000020004" pitchFamily="2" charset="0"/>
            </a:endParaRPr>
          </a:p>
        </p:txBody>
      </p:sp>
      <p:sp>
        <p:nvSpPr>
          <p:cNvPr id="39" name="TextBox 38">
            <a:extLst>
              <a:ext uri="{FF2B5EF4-FFF2-40B4-BE49-F238E27FC236}">
                <a16:creationId xmlns:a16="http://schemas.microsoft.com/office/drawing/2014/main" id="{D68F149A-1EB0-4A7A-8CC1-1FA6A7535552}"/>
              </a:ext>
            </a:extLst>
          </p:cNvPr>
          <p:cNvSpPr txBox="1">
            <a:spLocks/>
          </p:cNvSpPr>
          <p:nvPr/>
        </p:nvSpPr>
        <p:spPr>
          <a:xfrm>
            <a:off x="3406876" y="4726590"/>
            <a:ext cx="640080" cy="640080"/>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36576" rIns="0" bIns="0" rtlCol="0">
            <a:noAutofit/>
          </a:bodyPr>
          <a:lstStyle/>
          <a:p>
            <a:pPr>
              <a:lnSpc>
                <a:spcPct val="85000"/>
              </a:lnSpc>
              <a:spcAft>
                <a:spcPts val="600"/>
              </a:spcAft>
              <a:buClr>
                <a:schemeClr val="accent2"/>
              </a:buClr>
              <a:buSzPct val="70000"/>
            </a:pPr>
            <a:endParaRPr lang="en-US" sz="1200" dirty="0">
              <a:solidFill>
                <a:srgbClr val="FFFFFF"/>
              </a:solidFill>
              <a:latin typeface="EYInterstate Light" panose="02000506000000020004" pitchFamily="2" charset="0"/>
            </a:endParaRPr>
          </a:p>
        </p:txBody>
      </p:sp>
      <p:sp>
        <p:nvSpPr>
          <p:cNvPr id="40" name="Rectangle 39">
            <a:extLst>
              <a:ext uri="{FF2B5EF4-FFF2-40B4-BE49-F238E27FC236}">
                <a16:creationId xmlns:a16="http://schemas.microsoft.com/office/drawing/2014/main" id="{6FD0127D-58D0-4EA4-96B5-54C20B5F147C}"/>
              </a:ext>
            </a:extLst>
          </p:cNvPr>
          <p:cNvSpPr>
            <a:spLocks noChangeArrowheads="1"/>
          </p:cNvSpPr>
          <p:nvPr/>
        </p:nvSpPr>
        <p:spPr bwMode="auto">
          <a:xfrm>
            <a:off x="4134948" y="4706295"/>
            <a:ext cx="1556195"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a:buClr>
                <a:srgbClr val="FFD200"/>
              </a:buClr>
              <a:buSzPct val="75000"/>
              <a:tabLst>
                <a:tab pos="461732" algn="l"/>
              </a:tabLst>
              <a:defRPr/>
            </a:pPr>
            <a:r>
              <a:rPr lang="en-IN" sz="1050" dirty="0">
                <a:solidFill>
                  <a:srgbClr val="FFE600"/>
                </a:solidFill>
                <a:latin typeface="EYInterstate" panose="02000503020000020004" pitchFamily="2" charset="0"/>
              </a:rPr>
              <a:t>Suzanne Clayton</a:t>
            </a:r>
          </a:p>
          <a:p>
            <a:pPr defTabSz="1626352"/>
            <a:r>
              <a:rPr lang="en-IN" sz="900" dirty="0">
                <a:solidFill>
                  <a:prstClr val="white"/>
                </a:solidFill>
              </a:rPr>
              <a:t>Global Partner Director</a:t>
            </a:r>
          </a:p>
          <a:p>
            <a:pPr defTabSz="1626352"/>
            <a:r>
              <a:rPr lang="en-IN" sz="900" dirty="0" err="1">
                <a:solidFill>
                  <a:prstClr val="white"/>
                </a:solidFill>
              </a:rPr>
              <a:t>Pega</a:t>
            </a:r>
            <a:r>
              <a:rPr lang="en-IN" sz="900" dirty="0">
                <a:solidFill>
                  <a:prstClr val="white"/>
                </a:solidFill>
              </a:rPr>
              <a:t> Corporation</a:t>
            </a:r>
          </a:p>
          <a:p>
            <a:pPr marR="5080">
              <a:defRPr/>
            </a:pPr>
            <a:r>
              <a:rPr lang="en-US" sz="900" kern="0" dirty="0">
                <a:solidFill>
                  <a:srgbClr val="FFE600"/>
                </a:solidFill>
                <a:hlinkClick r:id="rId7">
                  <a:extLst>
                    <a:ext uri="{A12FA001-AC4F-418D-AE19-62706E023703}">
                      <ahyp:hlinkClr xmlns:ahyp="http://schemas.microsoft.com/office/drawing/2018/hyperlinkcolor" val="tx"/>
                    </a:ext>
                  </a:extLst>
                </a:hlinkClick>
              </a:rPr>
              <a:t>suzanne.clayton@pega.com</a:t>
            </a:r>
            <a:endParaRPr lang="en-IN" sz="1000" kern="0" dirty="0">
              <a:solidFill>
                <a:srgbClr val="FFE600"/>
              </a:solidFill>
            </a:endParaRPr>
          </a:p>
        </p:txBody>
      </p:sp>
      <p:sp>
        <p:nvSpPr>
          <p:cNvPr id="19" name="Rectangle 18">
            <a:extLst>
              <a:ext uri="{FF2B5EF4-FFF2-40B4-BE49-F238E27FC236}">
                <a16:creationId xmlns:a16="http://schemas.microsoft.com/office/drawing/2014/main" id="{7B621F1B-BBD8-4C73-8315-15C903E3086D}"/>
              </a:ext>
            </a:extLst>
          </p:cNvPr>
          <p:cNvSpPr/>
          <p:nvPr/>
        </p:nvSpPr>
        <p:spPr>
          <a:xfrm>
            <a:off x="8766175" y="384150"/>
            <a:ext cx="3048001" cy="6092850"/>
          </a:xfrm>
          <a:prstGeom prst="rect">
            <a:avLst/>
          </a:prstGeom>
          <a:noFill/>
          <a:ln w="254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7160" tIns="0" rIns="137160" bIns="0" rtlCol="0" anchor="ctr" anchorCtr="0"/>
          <a:lstStyle/>
          <a:p>
            <a:pPr>
              <a:spcAft>
                <a:spcPts val="900"/>
              </a:spcAft>
              <a:buClr>
                <a:schemeClr val="accent2"/>
              </a:buClr>
              <a:buSzPct val="70000"/>
            </a:pPr>
            <a:r>
              <a:rPr lang="en-US" sz="1100" b="1" dirty="0">
                <a:solidFill>
                  <a:srgbClr val="FFE600"/>
                </a:solidFill>
                <a:latin typeface="EYInterstate Light" panose="02000506000000020004" pitchFamily="2" charset="0"/>
              </a:rPr>
              <a:t>EY and </a:t>
            </a:r>
            <a:r>
              <a:rPr lang="en-US" sz="1100" b="1" dirty="0" err="1">
                <a:solidFill>
                  <a:srgbClr val="FFE600"/>
                </a:solidFill>
                <a:latin typeface="EYInterstate Light" panose="02000506000000020004" pitchFamily="2" charset="0"/>
              </a:rPr>
              <a:t>Pega</a:t>
            </a:r>
            <a:r>
              <a:rPr lang="en-US" sz="1100" b="1" dirty="0">
                <a:solidFill>
                  <a:srgbClr val="FFE600"/>
                </a:solidFill>
                <a:latin typeface="EYInterstate Light" panose="02000506000000020004" pitchFamily="2" charset="0"/>
              </a:rPr>
              <a:t>: accelerate transformation with confidence</a:t>
            </a:r>
            <a:endParaRPr lang="en-US" sz="1100" b="1" dirty="0">
              <a:solidFill>
                <a:schemeClr val="bg1"/>
              </a:solidFill>
              <a:latin typeface="EYInterstate Light" panose="02000506000000020004" pitchFamily="2" charset="0"/>
            </a:endParaRP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Significant challenges. Big ambitions. There’s a lot on the line for business in a world that’s ever-changing. It takes both powerful technology and sophisticated business insights to realize success, shape legacies and innovate for the futur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The EY organization and </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lead with an outcomes-first approach to elevate their clients’ businesses to be more productive, more agile, and better prepared to thrive in the fast-paced Transformative Ag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By combining EY strategic thought leadership capabilities with </a:t>
            </a:r>
            <a:r>
              <a:rPr lang="en-US" sz="1050" spc="-20" baseline="0" dirty="0" err="1">
                <a:solidFill>
                  <a:schemeClr val="bg1"/>
                </a:solidFill>
                <a:latin typeface="EYInterstate Light" panose="02000506000000020004" pitchFamily="2" charset="0"/>
              </a:rPr>
              <a:t>Pega’s</a:t>
            </a:r>
            <a:r>
              <a:rPr lang="en-US" sz="1050" spc="-20" baseline="0" dirty="0">
                <a:solidFill>
                  <a:schemeClr val="bg1"/>
                </a:solidFill>
                <a:latin typeface="EYInterstate Light" panose="02000506000000020004" pitchFamily="2" charset="0"/>
              </a:rPr>
              <a:t> focus on simplifying business complexity, the EY-</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Alliance is helping clients make smarter decisions, deliver richer experiences and accelerate time to valu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Together, the EY-</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Alliance helps you simplify business complexity so you can innovate faster, drive transformative outcomes and deliver experiences people love.</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For more information, visit: </a:t>
            </a:r>
            <a:r>
              <a:rPr lang="en-US" sz="1050" spc="-20" baseline="0" dirty="0">
                <a:solidFill>
                  <a:schemeClr val="bg1"/>
                </a:solidFill>
                <a:latin typeface="EYInterstate Light" panose="02000506000000020004" pitchFamily="2" charset="0"/>
                <a:hlinkClick r:id="rId8"/>
              </a:rPr>
              <a:t>ey.com/</a:t>
            </a:r>
            <a:r>
              <a:rPr lang="en-US" sz="1050" spc="-20" baseline="0" dirty="0" err="1">
                <a:solidFill>
                  <a:schemeClr val="bg1"/>
                </a:solidFill>
                <a:latin typeface="EYInterstate Light" panose="02000506000000020004" pitchFamily="2" charset="0"/>
                <a:hlinkClick r:id="rId8"/>
              </a:rPr>
              <a:t>pega</a:t>
            </a:r>
            <a:endParaRPr lang="en-US" sz="1050" dirty="0">
              <a:solidFill>
                <a:schemeClr val="bg1"/>
              </a:solidFill>
              <a:latin typeface="EYInterstate Light" panose="02000506000000020004" pitchFamily="2" charset="0"/>
            </a:endParaRPr>
          </a:p>
        </p:txBody>
      </p:sp>
      <p:sp>
        <p:nvSpPr>
          <p:cNvPr id="20" name="Rectangle 42">
            <a:extLst>
              <a:ext uri="{FF2B5EF4-FFF2-40B4-BE49-F238E27FC236}">
                <a16:creationId xmlns:a16="http://schemas.microsoft.com/office/drawing/2014/main" id="{2E52841E-DA33-4218-9144-BB4FE4981866}"/>
              </a:ext>
            </a:extLst>
          </p:cNvPr>
          <p:cNvSpPr>
            <a:spLocks noChangeArrowheads="1"/>
          </p:cNvSpPr>
          <p:nvPr/>
        </p:nvSpPr>
        <p:spPr bwMode="auto">
          <a:xfrm>
            <a:off x="1358414" y="4625770"/>
            <a:ext cx="1738938" cy="679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marR="0">
              <a:lnSpc>
                <a:spcPct val="95000"/>
              </a:lnSpc>
              <a:spcBef>
                <a:spcPts val="0"/>
              </a:spcBef>
            </a:pPr>
            <a:r>
              <a:rPr lang="en-US" sz="1050" dirty="0">
                <a:solidFill>
                  <a:srgbClr val="FFE600"/>
                </a:solidFill>
                <a:latin typeface="EYInterstate" panose="02000503020000020004" pitchFamily="2" charset="0"/>
              </a:rPr>
              <a:t>Linga </a:t>
            </a:r>
            <a:r>
              <a:rPr lang="en-US" sz="1050" dirty="0" err="1">
                <a:solidFill>
                  <a:srgbClr val="FFE600"/>
                </a:solidFill>
                <a:latin typeface="EYInterstate" panose="02000503020000020004" pitchFamily="2" charset="0"/>
              </a:rPr>
              <a:t>Gounder</a:t>
            </a:r>
            <a:endParaRPr lang="en-US" sz="1050" dirty="0">
              <a:solidFill>
                <a:srgbClr val="FFE600"/>
              </a:solidFill>
              <a:latin typeface="EYInterstate" panose="02000503020000020004" pitchFamily="2" charset="0"/>
            </a:endParaRPr>
          </a:p>
          <a:p>
            <a:pPr marR="5080">
              <a:lnSpc>
                <a:spcPct val="95000"/>
              </a:lnSpc>
              <a:defRPr/>
            </a:pPr>
            <a:r>
              <a:rPr lang="en-US" sz="900" b="0" i="0" dirty="0">
                <a:solidFill>
                  <a:srgbClr val="FFFFFF"/>
                </a:solidFill>
                <a:effectLst/>
                <a:latin typeface="eyinterstate-Bold"/>
              </a:rPr>
              <a:t>Senior Manager</a:t>
            </a:r>
            <a:endParaRPr lang="en-US" sz="900" dirty="0">
              <a:solidFill>
                <a:srgbClr val="FFFFFF"/>
              </a:solidFill>
              <a:latin typeface="eyinterstate-Bold"/>
            </a:endParaRPr>
          </a:p>
          <a:p>
            <a:pPr marR="5080">
              <a:lnSpc>
                <a:spcPct val="95000"/>
              </a:lnSpc>
              <a:defRPr/>
            </a:pPr>
            <a:r>
              <a:rPr lang="en-GB" sz="900" kern="0" dirty="0">
                <a:solidFill>
                  <a:srgbClr val="FFFFFF"/>
                </a:solidFill>
              </a:rPr>
              <a:t>Ernst &amp; Young LLP</a:t>
            </a:r>
            <a:endParaRPr lang="en-IN" sz="900" kern="0" dirty="0">
              <a:solidFill>
                <a:srgbClr val="FFFFFF"/>
              </a:solidFill>
            </a:endParaRPr>
          </a:p>
          <a:p>
            <a:pPr marR="5080">
              <a:lnSpc>
                <a:spcPct val="95000"/>
              </a:lnSpc>
              <a:defRPr/>
            </a:pPr>
            <a:r>
              <a:rPr lang="en-IN" sz="900" kern="0" dirty="0">
                <a:solidFill>
                  <a:srgbClr val="FFFFFF"/>
                </a:solidFill>
              </a:rPr>
              <a:t>Phone: +1 </a:t>
            </a:r>
            <a:r>
              <a:rPr lang="en-US" sz="900" kern="0" dirty="0">
                <a:solidFill>
                  <a:srgbClr val="FFFFFF"/>
                </a:solidFill>
              </a:rPr>
              <a:t>470 286 8660 </a:t>
            </a:r>
            <a:endParaRPr lang="en-IN" sz="900" kern="0" dirty="0">
              <a:solidFill>
                <a:srgbClr val="FFFFFF"/>
              </a:solidFill>
            </a:endParaRPr>
          </a:p>
          <a:p>
            <a:pPr marR="5080">
              <a:lnSpc>
                <a:spcPct val="95000"/>
              </a:lnSpc>
              <a:defRPr/>
            </a:pPr>
            <a:r>
              <a:rPr lang="en-GB" sz="900" kern="0" dirty="0">
                <a:solidFill>
                  <a:schemeClr val="tx2"/>
                </a:solidFill>
                <a:hlinkClick r:id="rId9"/>
              </a:rPr>
              <a:t>linga.angappagounder@ey.com</a:t>
            </a:r>
            <a:endParaRPr lang="en-IN" sz="1050" kern="0" dirty="0">
              <a:solidFill>
                <a:schemeClr val="tx2"/>
              </a:solidFill>
            </a:endParaRPr>
          </a:p>
        </p:txBody>
      </p:sp>
      <p:pic>
        <p:nvPicPr>
          <p:cNvPr id="47" name="Picture 46">
            <a:extLst>
              <a:ext uri="{FF2B5EF4-FFF2-40B4-BE49-F238E27FC236}">
                <a16:creationId xmlns:a16="http://schemas.microsoft.com/office/drawing/2014/main" id="{C96AA5D3-190B-41D5-8FEF-3B6939BD7D13}"/>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630342" y="4644732"/>
            <a:ext cx="640080" cy="641875"/>
          </a:xfrm>
          <a:prstGeom prst="rect">
            <a:avLst/>
          </a:prstGeom>
        </p:spPr>
      </p:pic>
      <p:sp>
        <p:nvSpPr>
          <p:cNvPr id="34" name="TextBox 33">
            <a:extLst>
              <a:ext uri="{FF2B5EF4-FFF2-40B4-BE49-F238E27FC236}">
                <a16:creationId xmlns:a16="http://schemas.microsoft.com/office/drawing/2014/main" id="{07734152-415E-4ED4-B742-1163FA79E5F0}"/>
              </a:ext>
            </a:extLst>
          </p:cNvPr>
          <p:cNvSpPr txBox="1"/>
          <p:nvPr/>
        </p:nvSpPr>
        <p:spPr>
          <a:xfrm>
            <a:off x="284625" y="861261"/>
            <a:ext cx="4220716" cy="2516073"/>
          </a:xfrm>
          <a:prstGeom prst="rect">
            <a:avLst/>
          </a:prstGeom>
          <a:noFill/>
        </p:spPr>
        <p:txBody>
          <a:bodyPr wrap="square">
            <a:spAutoFit/>
          </a:bodyPr>
          <a:lstStyle/>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00" spc="-30" dirty="0">
                <a:solidFill>
                  <a:schemeClr val="bg1"/>
                </a:solidFill>
              </a:rPr>
              <a:t>By combining EY strategic thought leadership capabilities with </a:t>
            </a:r>
            <a:r>
              <a:rPr lang="en-IN" sz="1000" spc="-30" dirty="0" err="1">
                <a:solidFill>
                  <a:schemeClr val="bg1"/>
                </a:solidFill>
              </a:rPr>
              <a:t>Pega’s</a:t>
            </a:r>
            <a:r>
              <a:rPr lang="en-IN" sz="1000" spc="-30" dirty="0">
                <a:solidFill>
                  <a:schemeClr val="bg1"/>
                </a:solidFill>
              </a:rPr>
              <a:t> focus on simplifying business complexity, the EY-</a:t>
            </a:r>
            <a:r>
              <a:rPr lang="en-IN" sz="1000" spc="-30" dirty="0" err="1">
                <a:solidFill>
                  <a:schemeClr val="bg1"/>
                </a:solidFill>
              </a:rPr>
              <a:t>Pega</a:t>
            </a:r>
            <a:r>
              <a:rPr lang="en-IN" sz="1000" spc="-30" dirty="0">
                <a:solidFill>
                  <a:schemeClr val="bg1"/>
                </a:solidFill>
              </a:rPr>
              <a:t> Alliance is helping clients make smarter decisions, deliver richer experiences and accelerate time to value.</a:t>
            </a:r>
            <a:r>
              <a:rPr lang="en-US" sz="1000" spc="-30" dirty="0">
                <a:solidFill>
                  <a:schemeClr val="bg1"/>
                </a:solidFill>
              </a:rPr>
              <a:t>​</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00" spc="-30" dirty="0">
                <a:solidFill>
                  <a:schemeClr val="bg1"/>
                </a:solidFill>
              </a:rPr>
              <a:t>This accelerator demonstrates how  the global EY Organization can help Life and Annuity carriers achieve proactive, tailored customer care by engaging with beneficiaries more effectively. </a:t>
            </a:r>
            <a:r>
              <a:rPr lang="en-US" sz="1000" spc="-30" dirty="0">
                <a:solidFill>
                  <a:schemeClr val="bg1"/>
                </a:solidFill>
              </a:rPr>
              <a:t>​</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00" spc="-30" dirty="0">
                <a:solidFill>
                  <a:schemeClr val="bg1"/>
                </a:solidFill>
              </a:rPr>
              <a:t>This is a unique, personalized EY Life Transformation offering for carriers to help them build deeper customer relationships and reduce asset leakage.</a:t>
            </a:r>
            <a:r>
              <a:rPr lang="en-US" sz="1000" spc="-30" dirty="0">
                <a:solidFill>
                  <a:schemeClr val="bg1"/>
                </a:solidFill>
              </a:rPr>
              <a:t> ​</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00" spc="-30" dirty="0">
                <a:solidFill>
                  <a:schemeClr val="bg1"/>
                </a:solidFill>
              </a:rPr>
              <a:t>This accelerator helps to highlight </a:t>
            </a:r>
            <a:r>
              <a:rPr lang="en-IN" sz="1000" spc="-30" dirty="0" err="1">
                <a:solidFill>
                  <a:schemeClr val="bg1"/>
                </a:solidFill>
              </a:rPr>
              <a:t>Pega</a:t>
            </a:r>
            <a:r>
              <a:rPr lang="en-IN" sz="1000" spc="-30" dirty="0">
                <a:solidFill>
                  <a:schemeClr val="bg1"/>
                </a:solidFill>
              </a:rPr>
              <a:t> Customer Service Platform features driving a better customer and agent experience. This is achieved by proactively guiding agents using Next-Best-Action (NBA) and integration with external systems for customer profile information for customer context</a:t>
            </a:r>
            <a:r>
              <a:rPr lang="en-US" sz="1000" spc="-30" dirty="0">
                <a:solidFill>
                  <a:schemeClr val="bg1"/>
                </a:solidFill>
              </a:rPr>
              <a:t>​.</a:t>
            </a:r>
          </a:p>
        </p:txBody>
      </p:sp>
    </p:spTree>
    <p:extLst>
      <p:ext uri="{BB962C8B-B14F-4D97-AF65-F5344CB8AC3E}">
        <p14:creationId xmlns:p14="http://schemas.microsoft.com/office/powerpoint/2010/main" val="28983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6695B4DF-CC04-41F5-86D8-400DD5704F0B}"/>
              </a:ext>
            </a:extLst>
          </p:cNvPr>
          <p:cNvSpPr txBox="1">
            <a:spLocks/>
          </p:cNvSpPr>
          <p:nvPr/>
        </p:nvSpPr>
        <p:spPr>
          <a:xfrm>
            <a:off x="384175" y="685800"/>
            <a:ext cx="3436684" cy="2727212"/>
          </a:xfrm>
          <a:prstGeom prst="rect">
            <a:avLst/>
          </a:prstGeom>
        </p:spPr>
        <p:txBody>
          <a:bodyPr vert="horz" lIns="0" tIns="0" rIns="0" bIns="0" rtlCol="0" anchor="t" anchorCtr="0">
            <a:no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100" b="0" i="0" u="none" strike="noStrike" kern="1200" cap="none" spc="0" normalizeH="0" baseline="0" noProof="0" dirty="0">
                <a:ln>
                  <a:noFill/>
                </a:ln>
                <a:solidFill>
                  <a:srgbClr val="FFE600"/>
                </a:solidFill>
                <a:effectLst/>
                <a:uLnTx/>
                <a:uFillTx/>
                <a:latin typeface="EYInterstate Light"/>
                <a:ea typeface="+mn-ea"/>
                <a:cs typeface="Arial" pitchFamily="34" charset="0"/>
                <a:sym typeface="Arial" panose="020B0604020202020204" pitchFamily="34" charset="0"/>
              </a:rPr>
              <a:t>EY | Building a better working world</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exists to build a better working world, helping to create long-term value for clients, people and society and build trust in the capital markets. </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nabled by data and technology, diverse EY teams in over 150 countries provide trust through assurance and help clients grow, transform and operat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Working across assurance, consulting, law, strategy, tax and transactions, EY teams ask better questions to find new answers for the complex issues facing our world today.</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
        <p:nvSpPr>
          <p:cNvPr id="7" name="Content Placeholder 1">
            <a:extLst>
              <a:ext uri="{FF2B5EF4-FFF2-40B4-BE49-F238E27FC236}">
                <a16:creationId xmlns:a16="http://schemas.microsoft.com/office/drawing/2014/main" id="{CAAE29F5-DD09-4C5D-A879-369FA8384D5E}"/>
              </a:ext>
            </a:extLst>
          </p:cNvPr>
          <p:cNvSpPr txBox="1">
            <a:spLocks/>
          </p:cNvSpPr>
          <p:nvPr/>
        </p:nvSpPr>
        <p:spPr>
          <a:xfrm>
            <a:off x="8301291" y="685800"/>
            <a:ext cx="3512884" cy="2825389"/>
          </a:xfrm>
          <a:prstGeom prst="rect">
            <a:avLst/>
          </a:prstGeom>
        </p:spPr>
        <p:txBody>
          <a:bodyPr vert="horz" lIns="0" tIns="0" rIns="0" bIns="0" rtlCol="0" anchor="t" anchorCtr="0">
            <a:sp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202</a:t>
            </a:r>
            <a:r>
              <a:rPr kumimoji="0" lang="en-IN"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3</a:t>
            </a: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EYGM Limited.</a:t>
            </a:r>
            <a:b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b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All Rights Reserved.</a:t>
            </a:r>
          </a:p>
          <a:p>
            <a:pPr>
              <a:buClr>
                <a:srgbClr val="FFE600"/>
              </a:buClr>
              <a:defRPr/>
            </a:pPr>
            <a:r>
              <a:rPr lang="en-US" sz="850" kern="0" dirty="0">
                <a:solidFill>
                  <a:srgbClr val="FFFFFF"/>
                </a:solidFill>
                <a:latin typeface="EYInterstate Light"/>
                <a:sym typeface="Arial" panose="020B0604020202020204" pitchFamily="34" charset="0"/>
              </a:rPr>
              <a:t>EYG no. </a:t>
            </a:r>
            <a:r>
              <a:rPr lang="en-US" sz="850" kern="0" dirty="0">
                <a:solidFill>
                  <a:srgbClr val="FFFFFF"/>
                </a:solidFill>
                <a:latin typeface="EYInterstate Light"/>
              </a:rPr>
              <a:t>005633-23Gbl</a:t>
            </a:r>
            <a:r>
              <a:rPr lang="en-US" sz="850" kern="0" dirty="0">
                <a:solidFill>
                  <a:srgbClr val="FFFFFF"/>
                </a:solidFill>
                <a:latin typeface="EYInterstate Light"/>
                <a:sym typeface="Arial" panose="020B0604020202020204" pitchFamily="34" charset="0"/>
              </a:rPr>
              <a:t> </a:t>
            </a:r>
            <a:br>
              <a:rPr lang="en-IN" sz="850" kern="0" dirty="0">
                <a:solidFill>
                  <a:srgbClr val="FFFFFF"/>
                </a:solidFill>
                <a:latin typeface="EYInterstate Light"/>
              </a:rPr>
            </a:br>
            <a:r>
              <a:rPr lang="en-US" sz="850" kern="0" dirty="0">
                <a:solidFill>
                  <a:srgbClr val="FFFFFF"/>
                </a:solidFill>
                <a:latin typeface="EYInterstate Light"/>
                <a:sym typeface="Arial" panose="020B0604020202020204" pitchFamily="34" charset="0"/>
              </a:rPr>
              <a:t>ED Non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com</a:t>
            </a:r>
            <a:endParaRPr kumimoji="0" lang="en-US" sz="1000" b="1"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Tree>
    <p:extLst>
      <p:ext uri="{BB962C8B-B14F-4D97-AF65-F5344CB8AC3E}">
        <p14:creationId xmlns:p14="http://schemas.microsoft.com/office/powerpoint/2010/main" val="384266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Custom 40">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4.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E5DF7E2EC2C2834EB4E2F8EBFDF3D80F" ma:contentTypeVersion="91" ma:contentTypeDescription="EY Knowledge Document" ma:contentTypeScope="" ma:versionID="419b4fdc8eabb09b3ae89e258429cecc">
  <xsd:schema xmlns:xsd="http://www.w3.org/2001/XMLSchema" xmlns:xs="http://www.w3.org/2001/XMLSchema" xmlns:p="http://schemas.microsoft.com/office/2006/metadata/properties" xmlns:ns2="35818088-e62d-4edf-bbb6-409430aef268" xmlns:ns3="f7b9490a-6539-4b3d-a00d-85d1ae6c4bae" xmlns:ns4="19adbeff-1f70-49b0-bb78-230e8a3e1da5" xmlns:ns5="4dd86f83-9be9-4c74-8789-8ec717073c4c" targetNamespace="http://schemas.microsoft.com/office/2006/metadata/properties" ma:root="true" ma:fieldsID="30e416f68f739101c507d9893f6b4e2f" ns2:_="" ns3:_="" ns4:_="" ns5:_="">
    <xsd:import namespace="35818088-e62d-4edf-bbb6-409430aef268"/>
    <xsd:import namespace="f7b9490a-6539-4b3d-a00d-85d1ae6c4bae"/>
    <xsd:import namespace="19adbeff-1f70-49b0-bb78-230e8a3e1da5"/>
    <xsd:import namespace="4dd86f83-9be9-4c74-8789-8ec717073c4c"/>
    <xsd:element name="properties">
      <xsd:complexType>
        <xsd:sequence>
          <xsd:element name="documentManagement">
            <xsd:complexType>
              <xsd:all>
                <xsd:element ref="ns2:EYAbstract" minOccurs="0"/>
                <xsd:element ref="ns3:EYMajorPubDate" minOccurs="0"/>
                <xsd:element ref="ns2:EYEYOnly"/>
                <xsd:element ref="ns2:EYEYAuthors" minOccurs="0"/>
                <xsd:element ref="ns2:EYContact" minOccurs="0"/>
                <xsd:element ref="ns2:ClassificationDataNoteField" minOccurs="0"/>
                <xsd:element ref="ns2:Classification_x0020_Status" minOccurs="0"/>
                <xsd:element ref="ns2:EYKLastReviewDate" minOccurs="0"/>
                <xsd:element ref="ns2:EYKShelfLife" minOccurs="0"/>
                <xsd:element ref="ns2:EYRelatedItems" minOccurs="0"/>
                <xsd:element ref="ns2:ExternalSource" minOccurs="0"/>
                <xsd:element ref="ns2:EYCopyright" minOccurs="0"/>
                <xsd:element ref="ns2:EYScoreNo" minOccurs="0"/>
                <xsd:element ref="ns2:EYExtranetPublication"/>
                <xsd:element ref="ns2:EYShareHideFromSearch" minOccurs="0"/>
                <xsd:element ref="ns2:EYKEndorseHistoryLog" minOccurs="0"/>
                <xsd:element ref="ns4:EYKArchiveHistoryLog" minOccurs="0"/>
                <xsd:element ref="ns2:EYKNoOfDownloads" minOccurs="0"/>
                <xsd:element ref="ns2:EYKNoOfViews" minOccurs="0"/>
                <xsd:element ref="ns2:EYKIsStubRecord" minOccurs="0"/>
                <xsd:element ref="ns2:EYKStubRecordURL" minOccurs="0"/>
                <xsd:element ref="ns2:EYKComments" minOccurs="0"/>
                <xsd:element ref="ns2:EYKEndorsement" minOccurs="0"/>
                <xsd:element ref="ns5:_dlc_DocIdUrl" minOccurs="0"/>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m33678f12b5049c39a1c696686f3f70e" minOccurs="0"/>
                <xsd:element ref="ns2:i8aa7114bb7641bd86d3a4ccb4853306" minOccurs="0"/>
                <xsd:element ref="ns2:m36b233319544d999b8f04858985d3e8" minOccurs="0"/>
                <xsd:element ref="ns2:e0e024ccac5240e69ae9c38a41bfa7a5" minOccurs="0"/>
                <xsd:element ref="ns2:TaxKeywordTaxHTField" minOccurs="0"/>
                <xsd:element ref="ns2:dc12c0fcbaa8400483ae8258ed61b8c8" minOccurs="0"/>
                <xsd:element ref="ns2:n1dab9d6d8664732849b7aaffb48fb18" minOccurs="0"/>
                <xsd:element ref="ns2:jb27e7913892463ea3962391e5e5bf6b" minOccurs="0"/>
                <xsd:element ref="ns2:f4bd10f74d714a839685405af33c451c" minOccurs="0"/>
                <xsd:element ref="ns2:a17f02f1284541ecaf0310cd291db4a5" minOccurs="0"/>
                <xsd:element ref="ns2:c94e7723a71c45f09f50228010d0fe70" minOccurs="0"/>
                <xsd:element ref="ns2:EYKRequestId" minOccurs="0"/>
                <xsd:element ref="ns2:a8483d08fb074d6289c5ef76ab4c8396" minOccurs="0"/>
                <xsd:element ref="ns2:EYKIsValidContact" minOccurs="0"/>
                <xsd:element ref="ns2:EYKIsValidAuthors" minOccurs="0"/>
                <xsd:element ref="ns2:EYKDateArchived" minOccurs="0"/>
                <xsd:element ref="ns5:_dlc_DocId" minOccurs="0"/>
                <xsd:element ref="ns5:_dlc_DocIdPersistId" minOccurs="0"/>
                <xsd:element ref="ns5:EYKDSBID" minOccurs="0"/>
                <xsd:element ref="ns5:EYKHarvestCycleID" minOccurs="0"/>
                <xsd:element ref="ns2:EngagementNumber" minOccurs="0"/>
                <xsd:element ref="ns2:ma3fe9d163a54e01b9fa3fb657a8eeac" minOccurs="0"/>
                <xsd:element ref="ns2:EYKOpportunityID" minOccurs="0"/>
                <xsd:element ref="ns5:EYKOriginalSourceData" minOccurs="0"/>
                <xsd:element ref="ns5:EYKAssociatedEngagements" minOccurs="0"/>
                <xsd:element ref="ns5:EYIsMigrat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EYAbstract" ma:index="2" nillable="true" ma:displayName="Abstract" ma:internalName="EYAbstract">
      <xsd:simpleType>
        <xsd:restriction base="dms:Note"/>
      </xsd:simpleType>
    </xsd:element>
    <xsd:element name="EYEYOnly" ma:index="4" ma:displayName="EY Only" ma:default="1" ma:internalName="EYEYOnly" ma:readOnly="false">
      <xsd:simpleType>
        <xsd:restriction base="dms:Boolean"/>
      </xsd:simpleType>
    </xsd:element>
    <xsd:element name="EYEYAuthors" ma:index="5"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Contact" ma:index="6"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assificationDataNoteField" ma:index="9" nillable="true" ma:displayName="ClassificationDataNoteField" ma:internalName="ClassificationDataNoteField" ma:readOnly="true">
      <xsd:simpleType>
        <xsd:restriction base="dms:Note"/>
      </xsd:simpleType>
    </xsd:element>
    <xsd:element name="Classification_x0020_Status" ma:index="10" nillable="true" ma:displayName="Classification Status" ma:internalName="Classification_x0020_Status" ma:readOnly="false">
      <xsd:simpleType>
        <xsd:restriction base="dms:Note"/>
      </xsd:simpleType>
    </xsd:element>
    <xsd:element name="EYKLastReviewDate" ma:index="18" nillable="true" ma:displayName="Last Review Date" ma:default="[today]" ma:format="DateOnly" ma:internalName="EYKLastReviewDate">
      <xsd:simpleType>
        <xsd:restriction base="dms:DateTime"/>
      </xsd:simpleType>
    </xsd:element>
    <xsd:element name="EYKShelfLife" ma:index="19" nillable="true" ma:displayName="Shelf Life(in months)" ma:default="18" ma:format="Dropdown" ma:internalName="EYKShelfLife">
      <xsd:simpleType>
        <xsd:restriction base="dms:Choice">
          <xsd:enumeration value="6"/>
          <xsd:enumeration value="12"/>
          <xsd:enumeration value="18"/>
          <xsd:enumeration value="24"/>
        </xsd:restriction>
      </xsd:simpleType>
    </xsd:element>
    <xsd:element name="EYRelatedItems" ma:index="21" nillable="true" ma:displayName="Related Items" ma:internalName="EYRelatedItems">
      <xsd:simpleType>
        <xsd:restriction base="dms:Note"/>
      </xsd:simpleType>
    </xsd:element>
    <xsd:element name="ExternalSource" ma:index="22"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element name="EYCopyright" ma:index="23" nillable="true" ma:displayName="Copyright" ma:internalName="EYCopyright">
      <xsd:simpleType>
        <xsd:restriction base="dms:Text"/>
      </xsd:simpleType>
    </xsd:element>
    <xsd:element name="EYScoreNo" ma:index="24" nillable="true" ma:displayName="SCORE No." ma:internalName="EYScoreNo">
      <xsd:simpleType>
        <xsd:restriction base="dms:Text">
          <xsd:maxLength value="255"/>
        </xsd:restriction>
      </xsd:simpleType>
    </xsd:element>
    <xsd:element name="EYExtranetPublication" ma:index="25" ma:displayName="For Extranet Publication" ma:default="0" ma:internalName="EYExtranetPublication" ma:readOnly="false">
      <xsd:simpleType>
        <xsd:restriction base="dms:Boolean"/>
      </xsd:simpleType>
    </xsd:element>
    <xsd:element name="EYShareHideFromSearch" ma:index="30" nillable="true" ma:displayName="EY Share Hide From Search" ma:default="0" ma:description="EY Share Hide From Search" ma:indexed="true" ma:internalName="EYShareHideFromSearch" ma:readOnly="false">
      <xsd:simpleType>
        <xsd:restriction base="dms:Boolean"/>
      </xsd:simpleType>
    </xsd:element>
    <xsd:element name="EYKEndorseHistoryLog" ma:index="31" nillable="true" ma:displayName="Endorse History Log" ma:internalName="EYKEndorseHistoryLog">
      <xsd:simpleType>
        <xsd:restriction base="dms:Note"/>
      </xsd:simpleType>
    </xsd:element>
    <xsd:element name="EYKNoOfDownloads" ma:index="33" nillable="true" ma:displayName="No Of Downloads" ma:indexed="true" ma:internalName="EYKNoOfDownloads">
      <xsd:simpleType>
        <xsd:restriction base="dms:Number"/>
      </xsd:simpleType>
    </xsd:element>
    <xsd:element name="EYKNoOfViews" ma:index="34" nillable="true" ma:displayName="No Of Views" ma:indexed="true" ma:internalName="EYKNoOfViews">
      <xsd:simpleType>
        <xsd:restriction base="dms:Number"/>
      </xsd:simpleType>
    </xsd:element>
    <xsd:element name="EYKIsStubRecord" ma:index="35" nillable="true" ma:displayName="Is Stub Record" ma:internalName="EYKIsStubRecord">
      <xsd:simpleType>
        <xsd:restriction base="dms:Boolean"/>
      </xsd:simpleType>
    </xsd:element>
    <xsd:element name="EYKStubRecordURL" ma:index="37" nillable="true" ma:displayName="Stub Record URL" ma:internalName="EYKStubRecordURL">
      <xsd:simpleType>
        <xsd:restriction base="dms:Note"/>
      </xsd:simpleType>
    </xsd:element>
    <xsd:element name="EYKComments" ma:index="38" nillable="true" ma:displayName="Comments" ma:description="This is for users to be able to include a note to themselves that this document might require special handling." ma:hidden="true" ma:internalName="EYKComments">
      <xsd:simpleType>
        <xsd:restriction base="dms:Note"/>
      </xsd:simpleType>
    </xsd:element>
    <xsd:element name="EYKEndorsement" ma:index="40" nillable="true" ma:displayName="Endorsement" ma:internalName="EYKEndorsement">
      <xsd:simpleType>
        <xsd:restriction base="dms:Note"/>
      </xsd:simpleType>
    </xsd:element>
    <xsd:element name="i14ea8bbd518495ea0e20ac1ad18c527" ma:index="49" ma:taxonomy="true" ma:internalName="i14ea8bbd518495ea0e20ac1ad18c527" ma:taxonomyFieldName="EYContentType" ma:displayName="EY Content Type" ma:fieldId="{214ea8bb-d518-495e-a0e2-0ac1ad18c527}" ma:sspId="9cc9f4e4-efc4-4954-9a3a-92fa8d4fa5d0" ma:termSetId="6505b3fe-eead-400a-9754-f8a94624a621" ma:anchorId="00000000-0000-0000-0000-000000000000" ma:open="true" ma:isKeyword="false">
      <xsd:complexType>
        <xsd:sequence>
          <xsd:element ref="pc:Terms" minOccurs="0" maxOccurs="1"/>
        </xsd:sequence>
      </xsd:complexType>
    </xsd:element>
    <xsd:element name="TaxCatchAll" ma:index="50" nillable="true" ma:displayName="Taxonomy Catch All Column" ma:hidden="true" ma:list="{9badd62c-6837-41c7-8f28-adb48ce0c0d2}" ma:internalName="TaxCatchAll" ma:showField="CatchAllData"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hidden="true" ma:list="{9badd62c-6837-41c7-8f28-adb48ce0c0d2}" ma:internalName="TaxCatchAllLabel" ma:readOnly="true" ma:showField="CatchAllDataLabel"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52" ma:taxonomy="true" ma:internalName="k8128b1c45734e36a24fce652bc7ffb7" ma:taxonomyFieldName="ServiceLineFunction" ma:displayName="Service Line / Function" ma:fieldId="{48128b1c-4573-4e36-a24f-ce652bc7ffb7}" ma:taxonomyMulti="true" ma:sspId="9cc9f4e4-efc4-4954-9a3a-92fa8d4fa5d0" ma:termSetId="a54bfafd-6ceb-41d3-a4cd-e00da9f478ef" ma:anchorId="00000000-0000-0000-0000-000000000000" ma:open="true" ma:isKeyword="false">
      <xsd:complexType>
        <xsd:sequence>
          <xsd:element ref="pc:Terms" minOccurs="0" maxOccurs="1"/>
        </xsd:sequence>
      </xsd:complexType>
    </xsd:element>
    <xsd:element name="jc981bd8ab5b47fd91abb7684c0f405b" ma:index="53" ma:taxonomy="true" ma:internalName="jc981bd8ab5b47fd91abb7684c0f405b" ma:taxonomyFieldName="GeographicApplicability" ma:displayName="Geographic Applicability" ma:fieldId="{3c981bd8-ab5b-47fd-91ab-b7684c0f405b}" ma:taxonomyMulti="true" ma:sspId="9cc9f4e4-efc4-4954-9a3a-92fa8d4fa5d0" ma:termSetId="d4205efd-bf5c-4aee-a8ac-d84b5a7eb933" ma:anchorId="00000000-0000-0000-0000-000000000000" ma:open="true" ma:isKeyword="false">
      <xsd:complexType>
        <xsd:sequence>
          <xsd:element ref="pc:Terms" minOccurs="0" maxOccurs="1"/>
        </xsd:sequence>
      </xsd:complexType>
    </xsd:element>
    <xsd:element name="b4187e12891e46deb4d240a4b28bdb90" ma:index="54" nillable="true" ma:taxonomy="true" ma:internalName="b4187e12891e46deb4d240a4b28bdb90" ma:taxonomyFieldName="ContentLanguage" ma:displayName="Content Language" ma:readOnly="false" ma:fieldId="{b4187e12-891e-46de-b4d2-40a4b28bdb90}" ma:taxonomyMulti="true" ma:sspId="9cc9f4e4-efc4-4954-9a3a-92fa8d4fa5d0" ma:termSetId="de7f4a9f-9315-4ba0-93d7-d7d3ca1129ab" ma:anchorId="00000000-0000-0000-0000-000000000000" ma:open="true" ma:isKeyword="false">
      <xsd:complexType>
        <xsd:sequence>
          <xsd:element ref="pc:Terms" minOccurs="0" maxOccurs="1"/>
        </xsd:sequence>
      </xsd:complexType>
    </xsd:element>
    <xsd:element name="m33678f12b5049c39a1c696686f3f70e" ma:index="55" nillable="true" ma:taxonomy="true" ma:internalName="m33678f12b5049c39a1c696686f3f70e" ma:taxonomyFieldName="EYIssues" ma:displayName="Solutions"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56"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57"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e0e024ccac5240e69ae9c38a41bfa7a5" ma:index="58" ma:taxonomy="true" ma:internalName="e0e024ccac5240e69ae9c38a41bfa7a5" ma:taxonomyFieldName="Sector" ma:displayName="Sector" ma:readOnly="false" ma:fieldId="{e0e024cc-ac52-40e6-9ae9-c38a41bfa7a5}" ma:taxonomyMulti="true" ma:sspId="9cc9f4e4-efc4-4954-9a3a-92fa8d4fa5d0" ma:termSetId="a2f97da7-e69b-4e00-a045-c556c68352c3" ma:anchorId="00000000-0000-0000-0000-000000000000" ma:open="true" ma:isKeyword="false">
      <xsd:complexType>
        <xsd:sequence>
          <xsd:element ref="pc:Terms" minOccurs="0" maxOccurs="1"/>
        </xsd:sequence>
      </xsd:complexType>
    </xsd:element>
    <xsd:element name="TaxKeywordTaxHTField" ma:index="59"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dc12c0fcbaa8400483ae8258ed61b8c8" ma:index="6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element name="n1dab9d6d8664732849b7aaffb48fb18" ma:index="61"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62"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f4bd10f74d714a839685405af33c451c" ma:index="63" nillable="true" ma:taxonomy="true" ma:internalName="f4bd10f74d714a839685405af33c451c" ma:taxonomyFieldName="EYKEndorsedBy" ma:displayName="Endorsed By" ma:default="" ma:fieldId="{f4bd10f7-4d71-4a83-9685-405af33c451c}"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a17f02f1284541ecaf0310cd291db4a5" ma:index="64"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65"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RequestId" ma:index="66" nillable="true" ma:displayName="Request ID" ma:description="Request ID" ma:hidden="true" ma:internalName="EYKRequestId">
      <xsd:simpleType>
        <xsd:restriction base="dms:Text">
          <xsd:maxLength value="255"/>
        </xsd:restriction>
      </xsd:simpleType>
    </xsd:element>
    <xsd:element name="a8483d08fb074d6289c5ef76ab4c8396" ma:index="67" nillable="true" ma:taxonomy="true" ma:internalName="a8483d08fb074d6289c5ef76ab4c8396" ma:taxonomyFieldName="EYKStubRecordType" ma:displayName="Stub Record Type" ma:indexed="true" ma:default="" ma:fieldId="{a8483d08-fb07-4d62-89c5-ef76ab4c8396}" ma:sspId="9cc9f4e4-efc4-4954-9a3a-92fa8d4fa5d0" ma:termSetId="54f64295-64ed-4036-b208-c76be4d842c5" ma:anchorId="00000000-0000-0000-0000-000000000000" ma:open="false" ma:isKeyword="false">
      <xsd:complexType>
        <xsd:sequence>
          <xsd:element ref="pc:Terms" minOccurs="0" maxOccurs="1"/>
        </xsd:sequence>
      </xsd:complexType>
    </xsd:element>
    <xsd:element name="EYKIsValidContact" ma:index="68" nillable="true" ma:displayName="Is Invalid Contact" ma:default="0" ma:description="Is Invalid Contact" ma:internalName="EYKIsValidContact" ma:readOnly="false">
      <xsd:simpleType>
        <xsd:restriction base="dms:Boolean"/>
      </xsd:simpleType>
    </xsd:element>
    <xsd:element name="EYKIsValidAuthors" ma:index="69" nillable="true" ma:displayName="Is Invalid Authors" ma:default="0" ma:description="Is Invalid Authors" ma:internalName="EYKIsValidAuthors" ma:readOnly="false">
      <xsd:simpleType>
        <xsd:restriction base="dms:Boolean"/>
      </xsd:simpleType>
    </xsd:element>
    <xsd:element name="EYKDateArchived" ma:index="70" nillable="true" ma:displayName="Date Archived" ma:description="EYKDateArchived" ma:format="DateOnly" ma:hidden="true" ma:internalName="EYKDateArchived">
      <xsd:simpleType>
        <xsd:restriction base="dms:DateTime"/>
      </xsd:simpleType>
    </xsd:element>
    <xsd:element name="EngagementNumber" ma:index="75" nillable="true" ma:displayName="Engagement Number" ma:internalName="EngagementNumber">
      <xsd:simpleType>
        <xsd:restriction base="dms:Note"/>
      </xsd:simpleType>
    </xsd:element>
    <xsd:element name="ma3fe9d163a54e01b9fa3fb657a8eeac" ma:index="76" nillable="true" ma:taxonomy="true" ma:internalName="ma3fe9d163a54e01b9fa3fb657a8eeac" ma:taxonomyFieldName="EYKBusinessTriggers" ma:displayName="Buyer" ma:fieldId="{6a3fe9d1-63a5-4e01-b9fa-3fb657a8eeac}" ma:taxonomyMulti="true" ma:sspId="9cc9f4e4-efc4-4954-9a3a-92fa8d4fa5d0" ma:termSetId="6a3fe9d1-36a5-4e01-b9fa-3fb657a8eeac" ma:anchorId="00000000-0000-0000-0000-000000000000" ma:open="true" ma:isKeyword="false">
      <xsd:complexType>
        <xsd:sequence>
          <xsd:element ref="pc:Terms" minOccurs="0" maxOccurs="1"/>
        </xsd:sequence>
      </xsd:complexType>
    </xsd:element>
    <xsd:element name="EYKOpportunityID" ma:index="78" nillable="true" ma:displayName="Opportunity ID" ma:internalName="EYKOpportunity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b9490a-6539-4b3d-a00d-85d1ae6c4bae" elementFormDefault="qualified">
    <xsd:import namespace="http://schemas.microsoft.com/office/2006/documentManagement/types"/>
    <xsd:import namespace="http://schemas.microsoft.com/office/infopath/2007/PartnerControls"/>
    <xsd:element name="EYMajorPubDate" ma:index="3" nillable="true" ma:displayName="Major Publication Date" ma:format="DateOnly" ma:internalName="EYMajorPub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32" nillable="true" ma:displayName="Archive History Log" ma:internalName="EYKArchiveHistoryLo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d86f83-9be9-4c74-8789-8ec717073c4c" elementFormDefault="qualified">
    <xsd:import namespace="http://schemas.microsoft.com/office/2006/documentManagement/types"/>
    <xsd:import namespace="http://schemas.microsoft.com/office/infopath/2007/PartnerControls"/>
    <xsd:element name="_dlc_DocIdUrl" ma:index="4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71" nillable="true" ma:displayName="Document ID Value" ma:description="The value of the document ID assigned to this item." ma:internalName="_dlc_DocId" ma:readOnly="true">
      <xsd:simpleType>
        <xsd:restriction base="dms:Text"/>
      </xsd:simpleType>
    </xsd:element>
    <xsd:element name="_dlc_DocIdPersistId" ma:index="72" nillable="true" ma:displayName="Persist ID" ma:description="Keep ID on add." ma:hidden="true" ma:internalName="_dlc_DocIdPersistId" ma:readOnly="true">
      <xsd:simpleType>
        <xsd:restriction base="dms:Boolean"/>
      </xsd:simpleType>
    </xsd:element>
    <xsd:element name="EYKDSBID" ma:index="73" nillable="true" ma:displayName="DSB ID" ma:internalName="EYKDSBID">
      <xsd:simpleType>
        <xsd:restriction base="dms:Text">
          <xsd:maxLength value="255"/>
        </xsd:restriction>
      </xsd:simpleType>
    </xsd:element>
    <xsd:element name="EYKHarvestCycleID" ma:index="74" nillable="true" ma:displayName="Harvest Cycle ID" ma:internalName="EYKHarvestCycleID">
      <xsd:simpleType>
        <xsd:restriction base="dms:Text">
          <xsd:maxLength value="255"/>
        </xsd:restriction>
      </xsd:simpleType>
    </xsd:element>
    <xsd:element name="EYKOriginalSourceData" ma:index="79" nillable="true" ma:displayName="Original Source Data" ma:internalName="EYKOriginalSourceData">
      <xsd:simpleType>
        <xsd:restriction base="dms:Note">
          <xsd:maxLength value="255"/>
        </xsd:restriction>
      </xsd:simpleType>
    </xsd:element>
    <xsd:element name="EYKAssociatedEngagements" ma:index="80" nillable="true" ma:displayName="Associated Engagements" ma:internalName="EYKAssociatedEngagements">
      <xsd:simpleType>
        <xsd:restriction base="dms:Note">
          <xsd:maxLength value="255"/>
        </xsd:restriction>
      </xsd:simpleType>
    </xsd:element>
    <xsd:element name="EYIsMigrated" ma:index="81" nillable="true" ma:displayName="EYIsMigrated" ma:default="0" ma:internalName="EYIsMigrat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3" ma:displayName="Content Type"/>
        <xsd:element ref="dc:title"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ExternalSource xmlns="35818088-e62d-4edf-bbb6-409430aef268" xsi:nil="true"/>
    <m36b233319544d999b8f04858985d3e8 xmlns="35818088-e62d-4edf-bbb6-409430aef268">
      <Terms xmlns="http://schemas.microsoft.com/office/infopath/2007/PartnerControls"/>
    </m36b233319544d999b8f04858985d3e8>
    <EYKAssociatedEngagements xmlns="4dd86f83-9be9-4c74-8789-8ec717073c4c" xsi:nil="true"/>
    <EYAbstract xmlns="35818088-e62d-4edf-bbb6-409430aef268">The Life 500 Proactive Customer Service offering increases personalized proactive customer service for life insurance and annuities clients. </EYAbstract>
    <EYKOpportunityID xmlns="35818088-e62d-4edf-bbb6-409430aef268" xsi:nil="true"/>
    <EYExtranetPublication xmlns="35818088-e62d-4edf-bbb6-409430aef268">false</EYExtranetPublication>
    <EYKComments xmlns="35818088-e62d-4edf-bbb6-409430aef268" xsi:nil="true"/>
    <EYKIsValidContact xmlns="35818088-e62d-4edf-bbb6-409430aef268">false</EYKIsValidContact>
    <ma3fe9d163a54e01b9fa3fb657a8eeac xmlns="35818088-e62d-4edf-bbb6-409430aef268">
      <Terms xmlns="http://schemas.microsoft.com/office/infopath/2007/PartnerControls"/>
    </ma3fe9d163a54e01b9fa3fb657a8eeac>
    <EYIsMigrated xmlns="4dd86f83-9be9-4c74-8789-8ec717073c4c">true</EYIsMigrated>
    <EYKArchiveHistoryLog xmlns="19adbeff-1f70-49b0-bb78-230e8a3e1da5" xsi:nil="true"/>
    <f4bd10f74d714a839685405af33c451c xmlns="35818088-e62d-4edf-bbb6-409430aef268">
      <Terms xmlns="http://schemas.microsoft.com/office/infopath/2007/PartnerControls"/>
    </f4bd10f74d714a839685405af33c451c>
    <EYKIsValidAuthors xmlns="35818088-e62d-4edf-bbb6-409430aef268">false</EYKIsValidAuthors>
    <EYMajorPubDate xmlns="f7b9490a-6539-4b3d-a00d-85d1ae6c4bae">2023-07-13T22:00:00+00:00</EYMajorPubDate>
    <EYEYOnly xmlns="35818088-e62d-4edf-bbb6-409430aef268">false</EYEYOnly>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Pegasystems</TermName>
          <TermId xmlns="http://schemas.microsoft.com/office/infopath/2007/PartnerControls">83822ee9-a8b7-44e8-b0eb-0bc556438aee</TermId>
        </TermInfo>
      </Terms>
    </m33678f12b5049c39a1c696686f3f70e>
    <EYKDSBID xmlns="4dd86f83-9be9-4c74-8789-8ec717073c4c" xsi:nil="true"/>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All Service Lines/Functions</TermName>
          <TermId xmlns="http://schemas.microsoft.com/office/infopath/2007/PartnerControls">5182e370-846e-4ed9-a89d-b5e4d9f962d2</TermId>
        </TermInfo>
      </Terms>
    </k8128b1c45734e36a24fce652bc7ffb7>
    <jb27e7913892463ea3962391e5e5bf6b xmlns="35818088-e62d-4edf-bbb6-409430aef268">
      <Terms xmlns="http://schemas.microsoft.com/office/infopath/2007/PartnerControls"/>
    </jb27e7913892463ea3962391e5e5bf6b>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Insurance</TermName>
          <TermId xmlns="http://schemas.microsoft.com/office/infopath/2007/PartnerControls">5b80bbc8-1abb-48eb-87d6-894c1651c290</TermId>
        </TermInfo>
      </Terms>
    </e0e024ccac5240e69ae9c38a41bfa7a5>
    <EYKRequestId xmlns="35818088-e62d-4edf-bbb6-409430aef268" xsi:nil="true"/>
    <EYCopyright xmlns="35818088-e62d-4edf-bbb6-409430aef268" xsi:nil="true"/>
    <TaxCatchAll xmlns="35818088-e62d-4edf-bbb6-409430aef268">
      <Value>4128</Value>
      <Value>11</Value>
      <Value>1727</Value>
      <Value>157</Value>
      <Value>41</Value>
      <Value>23</Value>
      <Value>4</Value>
    </TaxCatchAll>
    <a8483d08fb074d6289c5ef76ab4c8396 xmlns="35818088-e62d-4edf-bbb6-409430aef268">
      <Terms xmlns="http://schemas.microsoft.com/office/infopath/2007/PartnerControls"/>
    </a8483d08fb074d6289c5ef76ab4c8396>
    <EYKIsStubRecord xmlns="35818088-e62d-4edf-bbb6-409430aef268">false</EYKIsStubRecord>
    <EYKStubRecordURL xmlns="35818088-e62d-4edf-bbb6-409430aef268" xsi:nil="true"/>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EngagementNumber xmlns="35818088-e62d-4edf-bbb6-409430aef268" xsi:nil="true"/>
    <EYScoreNo xmlns="35818088-e62d-4edf-bbb6-409430aef268">005633-23Gbl </EYScoreNo>
    <n1dab9d6d8664732849b7aaffb48fb18 xmlns="35818088-e62d-4edf-bbb6-409430aef268">
      <Terms xmlns="http://schemas.microsoft.com/office/infopath/2007/PartnerControls"/>
    </n1dab9d6d8664732849b7aaffb48fb18>
    <EYRelatedItems xmlns="35818088-e62d-4edf-bbb6-409430aef268">[{"Id":1,"Title":"Life 500 Proactive Customer Service - Internal Alliance Offering Brief.pptx","Url":"https://sharecontent.ey.net/cms/PursuitMaterials2/Shared%20Documents/2023/07/14/Life%20500%20Proactive%20Customer%20Service%20-%20Internal%20Alliance%20Offering%20Brief.pptx","DocID":"ZD3KK3S3X3TF-1046829333-11667","ItemTitle":"Life 500 Proactive Customer Service - Internal Alliance Offering Brief"}]</EYRelatedItems>
    <EYKEndorseHistoryLog xmlns="35818088-e62d-4edf-bbb6-409430aef268" xsi:nil="true"/>
    <i8aa7114bb7641bd86d3a4ccb4853306 xmlns="35818088-e62d-4edf-bbb6-409430aef268">
      <Terms xmlns="http://schemas.microsoft.com/office/infopath/2007/PartnerControls"/>
    </i8aa7114bb7641bd86d3a4ccb4853306>
    <EYKDateArchived xmlns="35818088-e62d-4edf-bbb6-409430aef268" xsi:nil="true"/>
    <EYKOriginalSourceData xmlns="4dd86f83-9be9-4c74-8789-8ec717073c4c" xsi:nil="true"/>
    <EYEYAuthors xmlns="35818088-e62d-4edf-bbb6-409430aef268">
      <UserInfo>
        <DisplayName>i:0#.w|us\lb727tx</DisplayName>
        <AccountId>60783</AccountId>
        <AccountType/>
      </UserInfo>
      <UserInfo>
        <DisplayName>i:0#.w|us\angapli</DisplayName>
        <AccountId>64797</AccountId>
        <AccountType/>
      </UserInfo>
      <UserInfo>
        <DisplayName>i:0#.w|us\ej565ka</DisplayName>
        <AccountId>208446</AccountId>
        <AccountType/>
      </UserInfo>
    </EYEYAuthors>
    <EYContact xmlns="35818088-e62d-4edf-bbb6-409430aef268">
      <UserInfo>
        <DisplayName>Anupam Vachaspati</DisplayName>
        <AccountId>60783</AccountId>
        <AccountType/>
      </UserInfo>
    </EYContact>
    <EYKNoOfDownloads xmlns="35818088-e62d-4edf-bbb6-409430aef268" xsi:nil="true"/>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500f1427-2ec5-408e-9c7e-c7ecab3f14e9</TermId>
        </TermInfo>
      </Terms>
    </jc981bd8ab5b47fd91abb7684c0f405b>
    <TaxKeywordTaxHTField xmlns="35818088-e62d-4edf-bbb6-409430aef268">
      <Terms xmlns="http://schemas.microsoft.com/office/infopath/2007/PartnerControls"/>
    </TaxKeywordTaxHTField>
    <dc12c0fcbaa8400483ae8258ed61b8c8 xmlns="35818088-e62d-4edf-bbb6-409430aef268">
      <Terms xmlns="http://schemas.microsoft.com/office/infopath/2007/PartnerControls"/>
    </dc12c0fcbaa8400483ae8258ed61b8c8>
    <EYKLastReviewDate xmlns="35818088-e62d-4edf-bbb6-409430aef268">2023-07-13T22:00:00+00:00</EYKLastReviewDate>
    <EYKEndorsement xmlns="35818088-e62d-4edf-bbb6-409430aef268" xsi:nil="true"/>
    <Classification_x0020_Status xmlns="35818088-e62d-4edf-bbb6-409430aef268" xsi:nil="true"/>
    <EYShareHideFromSearch xmlns="35818088-e62d-4edf-bbb6-409430aef268">false</EYShareHideFromSearch>
    <c94e7723a71c45f09f50228010d0fe70 xmlns="35818088-e62d-4edf-bbb6-409430aef268">
      <Terms xmlns="http://schemas.microsoft.com/office/infopath/2007/PartnerControls"/>
    </c94e7723a71c45f09f50228010d0fe70>
    <EYKNoOfViews xmlns="35818088-e62d-4edf-bbb6-409430aef268" xsi:nil="true"/>
    <EYKShelfLife xmlns="35818088-e62d-4edf-bbb6-409430aef268">18</EYKShelfLife>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Service and Solution Overviews</TermName>
          <TermId xmlns="http://schemas.microsoft.com/office/infopath/2007/PartnerControls">b959787b-724c-4f4a-8304-3385b1c8a24e</TermId>
        </TermInfo>
      </Terms>
    </i14ea8bbd518495ea0e20ac1ad18c527>
    <a17f02f1284541ecaf0310cd291db4a5 xmlns="35818088-e62d-4edf-bbb6-409430aef268">
      <Terms xmlns="http://schemas.microsoft.com/office/infopath/2007/PartnerControls">
        <TermInfo xmlns="http://schemas.microsoft.com/office/infopath/2007/PartnerControls">
          <TermName xmlns="http://schemas.microsoft.com/office/infopath/2007/PartnerControls">Alliance and Ecosystem Relationships</TermName>
          <TermId xmlns="http://schemas.microsoft.com/office/infopath/2007/PartnerControls">85d9465f-9b20-4cbf-8a35-e1f983854cec</TermId>
        </TermInfo>
      </Terms>
    </a17f02f1284541ecaf0310cd291db4a5>
    <EYKHarvestCycleID xmlns="4dd86f83-9be9-4c74-8789-8ec717073c4c" xsi:nil="true"/>
    <_dlc_DocId xmlns="4dd86f83-9be9-4c74-8789-8ec717073c4c">ZD3KK3S3X3TF-1046829333-11666</_dlc_DocId>
    <_dlc_DocIdUrl xmlns="4dd86f83-9be9-4c74-8789-8ec717073c4c">
      <Url>https://sharecontent.ey.net/cms/PursuitMaterials2/_layouts/15/DocIdRedir.aspx?ID=ZD3KK3S3X3TF-1046829333-11666</Url>
      <Description>ZD3KK3S3X3TF-1046829333-11666</Description>
    </_dlc_DocIdUrl>
  </documentManagement>
</p:properties>
</file>

<file path=customXml/itemProps1.xml><?xml version="1.0" encoding="utf-8"?>
<ds:datastoreItem xmlns:ds="http://schemas.openxmlformats.org/officeDocument/2006/customXml" ds:itemID="{B1CCDB80-AE94-4AA0-B2D4-1E4A1CDCDB39}">
  <ds:schemaRefs>
    <ds:schemaRef ds:uri="http://schemas.microsoft.com/sharepoint/v3/contenttype/forms"/>
  </ds:schemaRefs>
</ds:datastoreItem>
</file>

<file path=customXml/itemProps2.xml><?xml version="1.0" encoding="utf-8"?>
<ds:datastoreItem xmlns:ds="http://schemas.openxmlformats.org/officeDocument/2006/customXml" ds:itemID="{AD5075C6-7836-4647-8734-65C050604740}">
  <ds:schemaRefs>
    <ds:schemaRef ds:uri="http://schemas.microsoft.com/sharepoint/events"/>
  </ds:schemaRefs>
</ds:datastoreItem>
</file>

<file path=customXml/itemProps3.xml><?xml version="1.0" encoding="utf-8"?>
<ds:datastoreItem xmlns:ds="http://schemas.openxmlformats.org/officeDocument/2006/customXml" ds:itemID="{206352EF-71BB-450D-9188-521C3F33F4DF}">
  <ds:schemaRefs>
    <ds:schemaRef ds:uri="Microsoft.SharePoint.Taxonomy.ContentTypeSync"/>
  </ds:schemaRefs>
</ds:datastoreItem>
</file>

<file path=customXml/itemProps4.xml><?xml version="1.0" encoding="utf-8"?>
<ds:datastoreItem xmlns:ds="http://schemas.openxmlformats.org/officeDocument/2006/customXml" ds:itemID="{083BF3B4-E471-471E-83D9-5B5777AB94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818088-e62d-4edf-bbb6-409430aef268"/>
    <ds:schemaRef ds:uri="f7b9490a-6539-4b3d-a00d-85d1ae6c4bae"/>
    <ds:schemaRef ds:uri="19adbeff-1f70-49b0-bb78-230e8a3e1da5"/>
    <ds:schemaRef ds:uri="4dd86f83-9be9-4c74-8789-8ec717073c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820A3C3-75A9-47A8-808F-584828132AE4}">
  <ds:schemaRefs>
    <ds:schemaRef ds:uri="http://schemas.microsoft.com/office/2006/metadata/properties"/>
    <ds:schemaRef ds:uri="http://schemas.microsoft.com/office/infopath/2007/PartnerControls"/>
    <ds:schemaRef ds:uri="35818088-e62d-4edf-bbb6-409430aef268"/>
    <ds:schemaRef ds:uri="4dd86f83-9be9-4c74-8789-8ec717073c4c"/>
    <ds:schemaRef ds:uri="19adbeff-1f70-49b0-bb78-230e8a3e1da5"/>
    <ds:schemaRef ds:uri="f7b9490a-6539-4b3d-a00d-85d1ae6c4bae"/>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633246</vt:lpwstr>
  </property>
  <property fmtid="{D5CDD505-2E9C-101B-9397-08002B2CF9AE}" pid="4" name="OptimizationTime">
    <vt:lpwstr>20240330_1135</vt:lpwstr>
  </property>
</Properties>
</file>

<file path=docProps/app.xml><?xml version="1.0" encoding="utf-8"?>
<Properties xmlns="http://schemas.openxmlformats.org/officeDocument/2006/extended-properties" xmlns:vt="http://schemas.openxmlformats.org/officeDocument/2006/docPropsVTypes">
  <Template>Global_EY_widescreen_presentation_2019_v1.4</Template>
  <TotalTime>0</TotalTime>
  <Words>902</Words>
  <Application>Microsoft Office PowerPoint</Application>
  <PresentationFormat>Custom</PresentationFormat>
  <Paragraphs>56</Paragraphs>
  <Slides>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EYInterstate</vt:lpstr>
      <vt:lpstr>EYInterstate Light</vt:lpstr>
      <vt:lpstr>eyinterstate-Bold</vt:lpstr>
      <vt:lpstr>EY dark background</vt:lpstr>
      <vt:lpstr>think-cell Slide</vt:lpstr>
      <vt:lpstr>Life 500 Proactive Customer Service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fe 500 Proactive Customer Service - External Alliance Offering Brief</dc:title>
  <dc:creator/>
  <cp:keywords/>
  <cp:lastModifiedBy/>
  <cp:revision>1</cp:revision>
  <dcterms:created xsi:type="dcterms:W3CDTF">2023-07-14T07:57:33Z</dcterms:created>
  <dcterms:modified xsi:type="dcterms:W3CDTF">2024-03-30T18:35:3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6318CDA76982469C2C3CD2CD5847410200FE50EC723BBB4EE093E11CAD7ADFFF7A00E5DF7E2EC2C2834EB4E2F8EBFDF3D80F</vt:lpwstr>
  </property>
  <property fmtid="{D5CDD505-2E9C-101B-9397-08002B2CF9AE}" pid="3" name="_dlc_DocIdItemGuid">
    <vt:lpwstr>ec2f1781-769b-4d00-a1d9-67ca80cc6e57</vt:lpwstr>
  </property>
  <property fmtid="{D5CDD505-2E9C-101B-9397-08002B2CF9AE}" pid="4" name="TaxKeyword">
    <vt:lpwstr/>
  </property>
  <property fmtid="{D5CDD505-2E9C-101B-9397-08002B2CF9AE}" pid="5" name="EYKEndorsedBy">
    <vt:lpwstr/>
  </property>
  <property fmtid="{D5CDD505-2E9C-101B-9397-08002B2CF9AE}" pid="6" name="EYKStubRecordType">
    <vt:lpwstr/>
  </property>
  <property fmtid="{D5CDD505-2E9C-101B-9397-08002B2CF9AE}" pid="7" name="EYKKnowledgeDomainOwner">
    <vt:lpwstr>157;#Alliance and Ecosystem Relationships|85d9465f-9b20-4cbf-8a35-e1f983854cec</vt:lpwstr>
  </property>
  <property fmtid="{D5CDD505-2E9C-101B-9397-08002B2CF9AE}" pid="8" name="EYTargetAudience">
    <vt:lpwstr/>
  </property>
  <property fmtid="{D5CDD505-2E9C-101B-9397-08002B2CF9AE}" pid="9" name="ContentLanguage">
    <vt:lpwstr>4;#English|556a818d-2fa5-4ece-a7c0-2ca1d2dc5c77</vt:lpwstr>
  </property>
  <property fmtid="{D5CDD505-2E9C-101B-9397-08002B2CF9AE}" pid="10" name="EYKBusinessTriggers">
    <vt:lpwstr/>
  </property>
  <property fmtid="{D5CDD505-2E9C-101B-9397-08002B2CF9AE}" pid="11" name="ServiceLineFunction">
    <vt:lpwstr>23;#All Service Lines/Functions|5182e370-846e-4ed9-a89d-b5e4d9f962d2</vt:lpwstr>
  </property>
  <property fmtid="{D5CDD505-2E9C-101B-9397-08002B2CF9AE}" pid="12" name="EYContentType">
    <vt:lpwstr>4128;#Service and Solution Overviews|b959787b-724c-4f4a-8304-3385b1c8a24e</vt:lpwstr>
  </property>
  <property fmtid="{D5CDD505-2E9C-101B-9397-08002B2CF9AE}" pid="13" name="MethodWorkProduct">
    <vt:lpwstr/>
  </property>
  <property fmtid="{D5CDD505-2E9C-101B-9397-08002B2CF9AE}" pid="14" name="EYKRelatedKnowledgeDomain">
    <vt:lpwstr/>
  </property>
  <property fmtid="{D5CDD505-2E9C-101B-9397-08002B2CF9AE}" pid="15" name="Sector">
    <vt:lpwstr>41;#Insurance|5b80bbc8-1abb-48eb-87d6-894c1651c290</vt:lpwstr>
  </property>
  <property fmtid="{D5CDD505-2E9C-101B-9397-08002B2CF9AE}" pid="16" name="GeographicApplicability">
    <vt:lpwstr>11;#Global|500f1427-2ec5-408e-9c7e-c7ecab3f14e9</vt:lpwstr>
  </property>
  <property fmtid="{D5CDD505-2E9C-101B-9397-08002B2CF9AE}" pid="17" name="EYMarketSegment">
    <vt:lpwstr/>
  </property>
  <property fmtid="{D5CDD505-2E9C-101B-9397-08002B2CF9AE}" pid="18" name="EYCommunitySpecificTerms">
    <vt:lpwstr/>
  </property>
  <property fmtid="{D5CDD505-2E9C-101B-9397-08002B2CF9AE}" pid="19" name="EYIssues">
    <vt:lpwstr>1727;#Pegasystems|83822ee9-a8b7-44e8-b0eb-0bc556438aee</vt:lpwstr>
  </property>
  <property fmtid="{D5CDD505-2E9C-101B-9397-08002B2CF9AE}" pid="20" name="MethodName">
    <vt:lpwstr/>
  </property>
</Properties>
</file>